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2.xml" ContentType="application/vnd.openxmlformats-officedocument.themeOverride+xml"/>
  <Override PartName="/ppt/notesSlides/notesSlide2.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3.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4.xml" ContentType="application/vnd.openxmlformats-officedocument.themeOverride+xml"/>
  <Override PartName="/ppt/notesSlides/notesSlide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5.xml" ContentType="application/vnd.openxmlformats-officedocument.themeOverride+xml"/>
  <Override PartName="/ppt/tags/tag5.xml" ContentType="application/vnd.openxmlformats-officedocument.presentationml.tags+xml"/>
  <Override PartName="/ppt/tags/tag6.xml" ContentType="application/vnd.openxmlformats-officedocument.presentationml.tags+xml"/>
  <Override PartName="/ppt/notesSlides/notesSlide4.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96" r:id="rId17"/>
    <p:sldMasterId id="2147483949" r:id="rId18"/>
  </p:sldMasterIdLst>
  <p:notesMasterIdLst>
    <p:notesMasterId r:id="rId36"/>
  </p:notesMasterIdLst>
  <p:handoutMasterIdLst>
    <p:handoutMasterId r:id="rId37"/>
  </p:handoutMasterIdLst>
  <p:sldIdLst>
    <p:sldId id="945" r:id="rId19"/>
    <p:sldId id="1066" r:id="rId20"/>
    <p:sldId id="1067" r:id="rId21"/>
    <p:sldId id="945621967" r:id="rId22"/>
    <p:sldId id="945621968" r:id="rId23"/>
    <p:sldId id="945621969" r:id="rId24"/>
    <p:sldId id="945621971" r:id="rId25"/>
    <p:sldId id="945621972" r:id="rId26"/>
    <p:sldId id="1063" r:id="rId27"/>
    <p:sldId id="945621976" r:id="rId28"/>
    <p:sldId id="945621918" r:id="rId29"/>
    <p:sldId id="945621975" r:id="rId30"/>
    <p:sldId id="1021" r:id="rId31"/>
    <p:sldId id="945621974" r:id="rId32"/>
    <p:sldId id="1070" r:id="rId33"/>
    <p:sldId id="1071" r:id="rId34"/>
    <p:sldId id="971" r:id="rId35"/>
  </p:sldIdLst>
  <p:sldSz cx="12192000" cy="6858000"/>
  <p:notesSz cx="6797675" cy="9926638"/>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BD5CD15-D282-4814-BF02-954E39D85BB1}">
          <p14:sldIdLst>
            <p14:sldId id="945"/>
            <p14:sldId id="1066"/>
            <p14:sldId id="1067"/>
            <p14:sldId id="945621967"/>
            <p14:sldId id="945621968"/>
            <p14:sldId id="945621969"/>
            <p14:sldId id="945621971"/>
            <p14:sldId id="945621972"/>
            <p14:sldId id="1063"/>
            <p14:sldId id="945621976"/>
            <p14:sldId id="945621918"/>
            <p14:sldId id="945621975"/>
            <p14:sldId id="1021"/>
          </p14:sldIdLst>
        </p14:section>
        <p14:section name="Report" id="{6C981081-5912-49E1-8A15-5FDCC4EC71E5}">
          <p14:sldIdLst>
            <p14:sldId id="945621974"/>
            <p14:sldId id="1070"/>
            <p14:sldId id="1071"/>
            <p14:sldId id="971"/>
          </p14:sldIdLst>
        </p14:section>
      </p14:sectionLst>
    </p:ext>
    <p:ext uri="{EFAFB233-063F-42B5-8137-9DF3F51BA10A}">
      <p15:sldGuideLst xmlns:p15="http://schemas.microsoft.com/office/powerpoint/2012/main">
        <p15:guide id="10" userDrawn="1">
          <p15:clr>
            <a:srgbClr val="A4A3A4"/>
          </p15:clr>
        </p15:guide>
        <p15:guide id="11" orient="horz" pos="2069" userDrawn="1">
          <p15:clr>
            <a:srgbClr val="A4A3A4"/>
          </p15:clr>
        </p15:guide>
        <p15:guide id="12" orient="horz" pos="1593" userDrawn="1">
          <p15:clr>
            <a:srgbClr val="A4A3A4"/>
          </p15:clr>
        </p15:guide>
        <p15:guide id="13" orient="horz" pos="2546" userDrawn="1">
          <p15:clr>
            <a:srgbClr val="A4A3A4"/>
          </p15:clr>
        </p15:guide>
        <p15:guide id="14" orient="horz" pos="3072" userDrawn="1">
          <p15:clr>
            <a:srgbClr val="A4A3A4"/>
          </p15:clr>
        </p15:guide>
        <p15:guide id="15" orient="horz" pos="3589"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hai, Chantha" initials="PC" lastIdx="72" clrIdx="0">
    <p:extLst>
      <p:ext uri="{19B8F6BF-5375-455C-9EA6-DF929625EA0E}">
        <p15:presenceInfo xmlns:p15="http://schemas.microsoft.com/office/powerpoint/2012/main" userId="S::cphai@deloitte.co.nz::f78b74a2-e6aa-4bf0-9472-ecaaed9f663d" providerId="AD"/>
      </p:ext>
    </p:extLst>
  </p:cmAuthor>
  <p:cmAuthor id="2" name="Kilkelly, Mary" initials="KM" lastIdx="45" clrIdx="1">
    <p:extLst>
      <p:ext uri="{19B8F6BF-5375-455C-9EA6-DF929625EA0E}">
        <p15:presenceInfo xmlns:p15="http://schemas.microsoft.com/office/powerpoint/2012/main" userId="S::makilkelly@deloitte.co.nz::3d5b95fc-23ab-4617-b23c-ae9d2c33a7ca" providerId="AD"/>
      </p:ext>
    </p:extLst>
  </p:cmAuthor>
  <p:cmAuthor id="3" name="Cooper, Ben" initials="CB" lastIdx="2" clrIdx="2">
    <p:extLst>
      <p:ext uri="{19B8F6BF-5375-455C-9EA6-DF929625EA0E}">
        <p15:presenceInfo xmlns:p15="http://schemas.microsoft.com/office/powerpoint/2012/main" userId="S::becooper@deloitte.co.nz::f0c2867e-e614-46ec-9839-f09b91e8829a" providerId="AD"/>
      </p:ext>
    </p:extLst>
  </p:cmAuthor>
  <p:cmAuthor id="4" name="Dent, Alan" initials="DA" lastIdx="10" clrIdx="3">
    <p:extLst>
      <p:ext uri="{19B8F6BF-5375-455C-9EA6-DF929625EA0E}">
        <p15:presenceInfo xmlns:p15="http://schemas.microsoft.com/office/powerpoint/2012/main" userId="S::adent@deloitte.co.nz::861172d4-2180-47f2-baa3-9ebf55082a85" providerId="AD"/>
      </p:ext>
    </p:extLst>
  </p:cmAuthor>
  <p:cmAuthor id="5" name="Tan, John" initials="TJ" lastIdx="20" clrIdx="4">
    <p:extLst>
      <p:ext uri="{19B8F6BF-5375-455C-9EA6-DF929625EA0E}">
        <p15:presenceInfo xmlns:p15="http://schemas.microsoft.com/office/powerpoint/2012/main" userId="S::johntan@deloitte.co.nz::70217bba-eb93-4c00-860e-1eb6f16ecfe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B5E5"/>
    <a:srgbClr val="62B5E1"/>
    <a:srgbClr val="6279E1"/>
    <a:srgbClr val="005587"/>
    <a:srgbClr val="0D8390"/>
    <a:srgbClr val="17618C"/>
    <a:srgbClr val="0097A9"/>
    <a:srgbClr val="00B0F0"/>
    <a:srgbClr val="007CB0"/>
    <a:srgbClr val="43B02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214" autoAdjust="0"/>
    <p:restoredTop sz="96656" autoAdjust="0"/>
  </p:normalViewPr>
  <p:slideViewPr>
    <p:cSldViewPr snapToGrid="0">
      <p:cViewPr varScale="1">
        <p:scale>
          <a:sx n="83" d="100"/>
          <a:sy n="83" d="100"/>
        </p:scale>
        <p:origin x="998" y="62"/>
      </p:cViewPr>
      <p:guideLst>
        <p:guide/>
        <p:guide orient="horz" pos="2069"/>
        <p:guide orient="horz" pos="1593"/>
        <p:guide orient="horz" pos="2546"/>
        <p:guide orient="horz" pos="3072"/>
        <p:guide orient="horz" pos="3589"/>
      </p:guideLst>
    </p:cSldViewPr>
  </p:slideViewPr>
  <p:notesTextViewPr>
    <p:cViewPr>
      <p:scale>
        <a:sx n="75" d="100"/>
        <a:sy n="75" d="100"/>
      </p:scale>
      <p:origin x="0" y="0"/>
    </p:cViewPr>
  </p:notesTextViewPr>
  <p:sorterViewPr>
    <p:cViewPr>
      <p:scale>
        <a:sx n="100" d="100"/>
        <a:sy n="100" d="100"/>
      </p:scale>
      <p:origin x="0" y="-3027"/>
    </p:cViewPr>
  </p:sorter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slideMaster" Target="slideMasters/slideMaster2.xml"/><Relationship Id="rId26" Type="http://schemas.openxmlformats.org/officeDocument/2006/relationships/slide" Target="slides/slide8.xml"/><Relationship Id="rId39" Type="http://schemas.openxmlformats.org/officeDocument/2006/relationships/commentAuthors" Target="commentAuthors.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theme" Target="theme/theme1.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notesMaster" Target="notesMasters/notesMaster1.xml"/><Relationship Id="rId10" Type="http://schemas.openxmlformats.org/officeDocument/2006/relationships/customXml" Target="../customXml/item10.xml"/><Relationship Id="rId19" Type="http://schemas.openxmlformats.org/officeDocument/2006/relationships/slide" Target="slides/slide1.xml"/><Relationship Id="rId31"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tableStyles" Target="tableStyles.xml"/><Relationship Id="rId8" Type="http://schemas.openxmlformats.org/officeDocument/2006/relationships/customXml" Target="../customXml/item8.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slideMaster" Target="slideMasters/slideMaster1.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file:///\\nzwlg09\Data\FILES\Clients\D\Department%20of%20Internal%20Affairs\Corporate%20Finance\2021%20Three%20Waters%20Economic%20Impact%20Report\3.%20Workings\Report%20graphs_sim1_200421A.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jcoulson\OneDrive%20-%20Deloitte%20(O365D)\Desktop\Final%20Phase%203%20Model%20-%20BASE.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file:///C:\Users\jcoulson\OneDrive%20-%20Deloitte%20(O365D)\Desktop\Final%20Phase%203%20Model%20-%20BASE.xlsx" TargetMode="Externa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file:///C:\Users\jcoulson\OneDrive%20-%20Deloitte%20(O365D)\Desktop\Final%20Phase%203%20Model%20-%20BASE.xlsx" TargetMode="Externa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oleObject" Target="file:///C:\Users\jcoulson\OneDrive%20-%20Deloitte%20(O365D)\Desktop\Final%20Phase%203%20Model%20-%20BASE.xlsx" TargetMode="External"/></Relationships>
</file>

<file path=ppt/charts/_rels/chart6.xml.rels><?xml version="1.0" encoding="UTF-8" standalone="yes"?>
<Relationships xmlns="http://schemas.openxmlformats.org/package/2006/relationships"><Relationship Id="rId3" Type="http://schemas.openxmlformats.org/officeDocument/2006/relationships/oleObject" Target="file:///C:\Users\jcoulson\OneDrive%20-%20Deloitte%20(O365D)\Desktop\Final%20Phase%203%20Model%20-%20BASE.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oleObject" Target="file:///C:\Users\jcoulson\OneDrive%20-%20Deloitte%20(O365D)\Desktop\Final%20Phase%203%20Model%20-%20BASE.xlsx" TargetMode="External"/></Relationships>
</file>

<file path=ppt/charts/_rels/chart8.xml.rels><?xml version="1.0" encoding="UTF-8" standalone="yes"?>
<Relationships xmlns="http://schemas.openxmlformats.org/package/2006/relationships"><Relationship Id="rId3" Type="http://schemas.openxmlformats.org/officeDocument/2006/relationships/oleObject" Target="file:///\\nzwlg09\Data\FILES\Clients\D\Department%20of%20Internal%20Affairs\Corporate%20Finance\2021%20Three%20Waters%20Economic%20Impact%20Report\3.%20Workings\Stakeholder%20workstream\Industry%20schematic\DIA%20workforce%20WW.xlsx" TargetMode="External"/><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xMode val="edge"/>
          <c:yMode val="edge"/>
          <c:x val="3.888888888888889E-2"/>
          <c:y val="0.1111111111111111"/>
          <c:w val="0.93055555555555558"/>
          <c:h val="0.79166666666666663"/>
        </c:manualLayout>
      </c:layout>
      <c:lineChart>
        <c:grouping val="standard"/>
        <c:varyColors val="0"/>
        <c:ser>
          <c:idx val="0"/>
          <c:order val="0"/>
          <c:tx>
            <c:strRef>
              <c:f>National!$C$3</c:f>
              <c:strCache>
                <c:ptCount val="1"/>
                <c:pt idx="0">
                  <c:v>Low scenario</c:v>
                </c:pt>
              </c:strCache>
            </c:strRef>
          </c:tx>
          <c:spPr>
            <a:ln w="28575" cap="rnd">
              <a:solidFill>
                <a:schemeClr val="accent5"/>
              </a:solidFill>
              <a:round/>
            </a:ln>
            <a:effectLst/>
          </c:spPr>
          <c:marker>
            <c:symbol val="none"/>
          </c:marker>
          <c:cat>
            <c:numRef>
              <c:f>National!$M$4:$AP$4</c:f>
              <c:numCache>
                <c:formatCode>General</c:formatCode>
                <c:ptCount val="30"/>
                <c:pt idx="0">
                  <c:v>2022</c:v>
                </c:pt>
                <c:pt idx="1">
                  <c:v>2023</c:v>
                </c:pt>
                <c:pt idx="2">
                  <c:v>2024</c:v>
                </c:pt>
                <c:pt idx="3">
                  <c:v>2025</c:v>
                </c:pt>
                <c:pt idx="4">
                  <c:v>2026</c:v>
                </c:pt>
                <c:pt idx="5">
                  <c:v>2027</c:v>
                </c:pt>
                <c:pt idx="6">
                  <c:v>2028</c:v>
                </c:pt>
                <c:pt idx="7">
                  <c:v>2029</c:v>
                </c:pt>
                <c:pt idx="8">
                  <c:v>2030</c:v>
                </c:pt>
                <c:pt idx="9">
                  <c:v>2031</c:v>
                </c:pt>
                <c:pt idx="10">
                  <c:v>2032</c:v>
                </c:pt>
                <c:pt idx="11">
                  <c:v>2033</c:v>
                </c:pt>
                <c:pt idx="12">
                  <c:v>2034</c:v>
                </c:pt>
                <c:pt idx="13">
                  <c:v>2035</c:v>
                </c:pt>
                <c:pt idx="14">
                  <c:v>2036</c:v>
                </c:pt>
                <c:pt idx="15">
                  <c:v>2037</c:v>
                </c:pt>
                <c:pt idx="16">
                  <c:v>2038</c:v>
                </c:pt>
                <c:pt idx="17">
                  <c:v>2039</c:v>
                </c:pt>
                <c:pt idx="18">
                  <c:v>2040</c:v>
                </c:pt>
                <c:pt idx="19">
                  <c:v>2041</c:v>
                </c:pt>
                <c:pt idx="20">
                  <c:v>2042</c:v>
                </c:pt>
                <c:pt idx="21">
                  <c:v>2043</c:v>
                </c:pt>
                <c:pt idx="22">
                  <c:v>2044</c:v>
                </c:pt>
                <c:pt idx="23">
                  <c:v>2045</c:v>
                </c:pt>
                <c:pt idx="24">
                  <c:v>2046</c:v>
                </c:pt>
                <c:pt idx="25">
                  <c:v>2047</c:v>
                </c:pt>
                <c:pt idx="26">
                  <c:v>2048</c:v>
                </c:pt>
                <c:pt idx="27">
                  <c:v>2049</c:v>
                </c:pt>
                <c:pt idx="28">
                  <c:v>2050</c:v>
                </c:pt>
                <c:pt idx="29">
                  <c:v>2051</c:v>
                </c:pt>
              </c:numCache>
            </c:numRef>
          </c:cat>
          <c:val>
            <c:numRef>
              <c:f>National!$M$5:$AP$5</c:f>
              <c:numCache>
                <c:formatCode>_(\ #,##0.0_);[Red]_(\ \(#,##0.0\);_("-"_);_(@_)</c:formatCode>
                <c:ptCount val="30"/>
                <c:pt idx="0">
                  <c:v>7.7351481463759999</c:v>
                </c:pt>
                <c:pt idx="1">
                  <c:v>54.318009136469996</c:v>
                </c:pt>
                <c:pt idx="2">
                  <c:v>283.44625002289996</c:v>
                </c:pt>
                <c:pt idx="3">
                  <c:v>665.94877533609997</c:v>
                </c:pt>
                <c:pt idx="4">
                  <c:v>839.4113018429</c:v>
                </c:pt>
                <c:pt idx="5">
                  <c:v>900.01400190413005</c:v>
                </c:pt>
                <c:pt idx="6">
                  <c:v>936.50889754499997</c:v>
                </c:pt>
                <c:pt idx="7">
                  <c:v>975.96621574080007</c:v>
                </c:pt>
                <c:pt idx="8">
                  <c:v>1011.3159741700999</c:v>
                </c:pt>
                <c:pt idx="9">
                  <c:v>1045.5784019092</c:v>
                </c:pt>
                <c:pt idx="10">
                  <c:v>1077.1887145678002</c:v>
                </c:pt>
                <c:pt idx="11">
                  <c:v>1106.3066500780001</c:v>
                </c:pt>
                <c:pt idx="12">
                  <c:v>1133.441655068</c:v>
                </c:pt>
                <c:pt idx="13">
                  <c:v>1158.813672279</c:v>
                </c:pt>
                <c:pt idx="14">
                  <c:v>1183.2775271</c:v>
                </c:pt>
                <c:pt idx="15">
                  <c:v>1206.47003685</c:v>
                </c:pt>
                <c:pt idx="16">
                  <c:v>1228.420701408</c:v>
                </c:pt>
                <c:pt idx="17">
                  <c:v>1249.2050540509999</c:v>
                </c:pt>
                <c:pt idx="18">
                  <c:v>1269.0136528620001</c:v>
                </c:pt>
                <c:pt idx="19">
                  <c:v>1289.6605958720002</c:v>
                </c:pt>
                <c:pt idx="20">
                  <c:v>1309.544673092</c:v>
                </c:pt>
                <c:pt idx="21">
                  <c:v>1328.6673831399999</c:v>
                </c:pt>
                <c:pt idx="22">
                  <c:v>1347.1976222000001</c:v>
                </c:pt>
                <c:pt idx="23">
                  <c:v>1365.1575715919998</c:v>
                </c:pt>
                <c:pt idx="24">
                  <c:v>1382.47009045</c:v>
                </c:pt>
                <c:pt idx="25">
                  <c:v>1399.015420231</c:v>
                </c:pt>
                <c:pt idx="26">
                  <c:v>1415.000244691</c:v>
                </c:pt>
                <c:pt idx="27">
                  <c:v>1430.2768651699998</c:v>
                </c:pt>
                <c:pt idx="28">
                  <c:v>1444.7009325899999</c:v>
                </c:pt>
                <c:pt idx="29">
                  <c:v>1458.491138848</c:v>
                </c:pt>
              </c:numCache>
            </c:numRef>
          </c:val>
          <c:smooth val="0"/>
          <c:extLst xmlns:c15="http://schemas.microsoft.com/office/drawing/2012/chart">
            <c:ext xmlns:c16="http://schemas.microsoft.com/office/drawing/2014/chart" uri="{C3380CC4-5D6E-409C-BE32-E72D297353CC}">
              <c16:uniqueId val="{00000000-3CF1-454D-85B0-74C206225D1B}"/>
            </c:ext>
          </c:extLst>
        </c:ser>
        <c:ser>
          <c:idx val="1"/>
          <c:order val="1"/>
          <c:tx>
            <c:strRef>
              <c:f>[1]National!$C$3</c:f>
              <c:strCache>
                <c:ptCount val="1"/>
                <c:pt idx="0">
                  <c:v>High scenario</c:v>
                </c:pt>
              </c:strCache>
            </c:strRef>
          </c:tx>
          <c:spPr>
            <a:ln w="28575" cap="rnd">
              <a:solidFill>
                <a:schemeClr val="accent1"/>
              </a:solidFill>
              <a:round/>
            </a:ln>
            <a:effectLst/>
          </c:spPr>
          <c:marker>
            <c:symbol val="none"/>
          </c:marker>
          <c:val>
            <c:numRef>
              <c:f>[1]National!$M$5:$AP$5</c:f>
              <c:numCache>
                <c:formatCode>_(\ #,##0.0_);[Red]_(\ \(#,##0.0\);_("-"_);_(@_)</c:formatCode>
                <c:ptCount val="30"/>
                <c:pt idx="0">
                  <c:v>14.007783185277001</c:v>
                </c:pt>
                <c:pt idx="1">
                  <c:v>97.767680229979987</c:v>
                </c:pt>
                <c:pt idx="2">
                  <c:v>495.20657752479985</c:v>
                </c:pt>
                <c:pt idx="3">
                  <c:v>1107.4069495275</c:v>
                </c:pt>
                <c:pt idx="4">
                  <c:v>1372.6830687372999</c:v>
                </c:pt>
                <c:pt idx="5">
                  <c:v>1470.8157966191679</c:v>
                </c:pt>
                <c:pt idx="6">
                  <c:v>1541.9214187723996</c:v>
                </c:pt>
                <c:pt idx="7">
                  <c:v>1600.0752776699999</c:v>
                </c:pt>
                <c:pt idx="8">
                  <c:v>1651.7601182189997</c:v>
                </c:pt>
                <c:pt idx="9">
                  <c:v>1700.006979839</c:v>
                </c:pt>
                <c:pt idx="10">
                  <c:v>1744.0734685689999</c:v>
                </c:pt>
                <c:pt idx="11">
                  <c:v>1784.6802168879999</c:v>
                </c:pt>
                <c:pt idx="12">
                  <c:v>1822.4136556199999</c:v>
                </c:pt>
                <c:pt idx="13">
                  <c:v>1857.7542727800001</c:v>
                </c:pt>
                <c:pt idx="14">
                  <c:v>1891.6568105900001</c:v>
                </c:pt>
                <c:pt idx="15">
                  <c:v>1923.957235719</c:v>
                </c:pt>
                <c:pt idx="16">
                  <c:v>1954.9175921499998</c:v>
                </c:pt>
                <c:pt idx="17">
                  <c:v>1984.747653419</c:v>
                </c:pt>
                <c:pt idx="18">
                  <c:v>2013.6121903890003</c:v>
                </c:pt>
                <c:pt idx="19">
                  <c:v>2043.0958292780001</c:v>
                </c:pt>
                <c:pt idx="20">
                  <c:v>2072.052021855</c:v>
                </c:pt>
                <c:pt idx="21">
                  <c:v>2100.5538608839997</c:v>
                </c:pt>
                <c:pt idx="22">
                  <c:v>2128.6566240659999</c:v>
                </c:pt>
                <c:pt idx="23">
                  <c:v>2156.4064991169998</c:v>
                </c:pt>
                <c:pt idx="24">
                  <c:v>2183.8359762349996</c:v>
                </c:pt>
                <c:pt idx="25">
                  <c:v>2210.969592897</c:v>
                </c:pt>
                <c:pt idx="26">
                  <c:v>2237.8372067270002</c:v>
                </c:pt>
                <c:pt idx="27">
                  <c:v>2264.4384184949995</c:v>
                </c:pt>
                <c:pt idx="28">
                  <c:v>2290.7833810250004</c:v>
                </c:pt>
                <c:pt idx="29">
                  <c:v>2316.7539892209998</c:v>
                </c:pt>
              </c:numCache>
            </c:numRef>
          </c:val>
          <c:smooth val="0"/>
          <c:extLst>
            <c:ext xmlns:c16="http://schemas.microsoft.com/office/drawing/2014/chart" uri="{C3380CC4-5D6E-409C-BE32-E72D297353CC}">
              <c16:uniqueId val="{00000001-3CF1-454D-85B0-74C206225D1B}"/>
            </c:ext>
          </c:extLst>
        </c:ser>
        <c:dLbls>
          <c:showLegendKey val="0"/>
          <c:showVal val="0"/>
          <c:showCatName val="0"/>
          <c:showSerName val="0"/>
          <c:showPercent val="0"/>
          <c:showBubbleSize val="0"/>
        </c:dLbls>
        <c:smooth val="0"/>
        <c:axId val="1359104447"/>
        <c:axId val="1009996959"/>
        <c:extLst/>
      </c:lineChart>
      <c:catAx>
        <c:axId val="1359104447"/>
        <c:scaling>
          <c:orientation val="minMax"/>
        </c:scaling>
        <c:delete val="0"/>
        <c:axPos val="b"/>
        <c:numFmt formatCode="General" sourceLinked="1"/>
        <c:majorTickMark val="out"/>
        <c:minorTickMark val="none"/>
        <c:tickLblPos val="low"/>
        <c:spPr>
          <a:noFill/>
          <a:ln w="9525" cap="flat" cmpd="sng" algn="ctr">
            <a:solidFill>
              <a:schemeClr val="bg1">
                <a:lumMod val="75000"/>
              </a:schemeClr>
            </a:solidFill>
            <a:prstDash val="solid"/>
            <a:round/>
            <a:headEnd type="none" w="med" len="med"/>
            <a:tailEnd type="none" w="med" len="med"/>
          </a:ln>
          <a:effectLst/>
        </c:spPr>
        <c:txPr>
          <a:bodyPr rot="-1920000" spcFirstLastPara="1" vertOverflow="ellipsis" wrap="square" anchor="ctr" anchorCtr="1"/>
          <a:lstStyle/>
          <a:p>
            <a:pPr>
              <a:defRPr sz="800" b="0" i="0" u="none" strike="noStrike" kern="1200" baseline="0">
                <a:solidFill>
                  <a:schemeClr val="bg1"/>
                </a:solidFill>
                <a:latin typeface="Segoe UI Light" panose="020B0502040204020203" pitchFamily="34" charset="0"/>
                <a:ea typeface="Arial"/>
                <a:cs typeface="Segoe UI Light" panose="020B0502040204020203" pitchFamily="34" charset="0"/>
              </a:defRPr>
            </a:pPr>
            <a:endParaRPr lang="en-US"/>
          </a:p>
        </c:txPr>
        <c:crossAx val="1009996959"/>
        <c:crosses val="autoZero"/>
        <c:auto val="1"/>
        <c:lblAlgn val="ctr"/>
        <c:lblOffset val="0"/>
        <c:tickLblSkip val="4"/>
        <c:tickMarkSkip val="4"/>
        <c:noMultiLvlLbl val="0"/>
      </c:catAx>
      <c:valAx>
        <c:axId val="1009996959"/>
        <c:scaling>
          <c:orientation val="minMax"/>
        </c:scaling>
        <c:delete val="0"/>
        <c:axPos val="l"/>
        <c:numFmt formatCode="#,##0" sourceLinked="0"/>
        <c:majorTickMark val="out"/>
        <c:minorTickMark val="none"/>
        <c:tickLblPos val="nextTo"/>
        <c:spPr>
          <a:noFill/>
          <a:ln w="3175">
            <a:solidFill>
              <a:schemeClr val="bg1">
                <a:lumMod val="75000"/>
              </a:schemeClr>
            </a:solidFill>
          </a:ln>
          <a:effectLst/>
        </c:spPr>
        <c:txPr>
          <a:bodyPr rot="0" spcFirstLastPara="1" vertOverflow="ellipsis" wrap="square" anchor="ctr" anchorCtr="1"/>
          <a:lstStyle/>
          <a:p>
            <a:pPr>
              <a:defRPr sz="800" b="0" i="0" u="none" strike="noStrike" kern="1200" baseline="0">
                <a:solidFill>
                  <a:schemeClr val="bg1"/>
                </a:solidFill>
                <a:latin typeface="Segoe UI Light" panose="020B0502040204020203" pitchFamily="34" charset="0"/>
                <a:ea typeface="Arial"/>
                <a:cs typeface="Segoe UI Light" panose="020B0502040204020203" pitchFamily="34" charset="0"/>
              </a:defRPr>
            </a:pPr>
            <a:endParaRPr lang="en-US"/>
          </a:p>
        </c:txPr>
        <c:crossAx val="1359104447"/>
        <c:crosses val="autoZero"/>
        <c:crossBetween val="between"/>
      </c:valAx>
      <c:spPr>
        <a:noFill/>
        <a:ln>
          <a:noFill/>
          <a:prstDash val="solid"/>
        </a:ln>
        <a:effectLst/>
      </c:spPr>
    </c:plotArea>
    <c:legend>
      <c:legendPos val="b"/>
      <c:layout>
        <c:manualLayout>
          <c:xMode val="edge"/>
          <c:yMode val="edge"/>
          <c:x val="0.16210722189930063"/>
          <c:y val="0.86905088303555367"/>
          <c:w val="0.6757855562013988"/>
          <c:h val="0.13094896681745863"/>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bg1"/>
              </a:solidFill>
              <a:latin typeface="Segoe UI Light" panose="020B0502040204020203" pitchFamily="34" charset="0"/>
              <a:ea typeface="Arial"/>
              <a:cs typeface="Segoe UI Light" panose="020B0502040204020203"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3175" cap="flat" cmpd="sng" algn="ctr">
      <a:noFill/>
      <a:prstDash val="solid"/>
      <a:round/>
    </a:ln>
    <a:effectLst/>
  </c:spPr>
  <c:txPr>
    <a:bodyPr/>
    <a:lstStyle/>
    <a:p>
      <a:pPr>
        <a:defRPr sz="800" u="none">
          <a:solidFill>
            <a:srgbClr val="000000"/>
          </a:solidFill>
          <a:latin typeface="Segoe UI Light" panose="020B0502040204020203" pitchFamily="34" charset="0"/>
          <a:ea typeface="Arial"/>
          <a:cs typeface="Segoe UI Light" panose="020B0502040204020203" pitchFamily="34" charset="0"/>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dirty="0"/>
              <a:t>Estimated Water Workforce in 2021</a:t>
            </a:r>
            <a:br>
              <a:rPr lang="en-US" dirty="0"/>
            </a:br>
            <a:r>
              <a:rPr lang="en-US" dirty="0"/>
              <a:t>(by Council Profile)</a:t>
            </a:r>
          </a:p>
        </c:rich>
      </c:tx>
      <c:layout>
        <c:manualLayout>
          <c:xMode val="edge"/>
          <c:yMode val="edge"/>
          <c:x val="0.19715486111111111"/>
          <c:y val="4.409722222222222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565560185185185"/>
          <c:y val="0.26182777777777777"/>
          <c:w val="0.48100833333333332"/>
          <c:h val="0.48100833333333332"/>
        </c:manualLayout>
      </c:layout>
      <c:pieChart>
        <c:varyColors val="1"/>
        <c:ser>
          <c:idx val="0"/>
          <c:order val="0"/>
          <c:tx>
            <c:strRef>
              <c:f>Charting!$T$96</c:f>
              <c:strCache>
                <c:ptCount val="1"/>
                <c:pt idx="0">
                  <c:v>2021</c:v>
                </c:pt>
              </c:strCache>
            </c:strRef>
          </c:tx>
          <c:spPr>
            <a:ln w="12700">
              <a:solidFill>
                <a:schemeClr val="bg1"/>
              </a:solidFill>
            </a:ln>
          </c:spPr>
          <c:dPt>
            <c:idx val="0"/>
            <c:bubble3D val="0"/>
            <c:spPr>
              <a:solidFill>
                <a:srgbClr val="005587"/>
              </a:solidFill>
              <a:ln w="12700">
                <a:solidFill>
                  <a:schemeClr val="bg1"/>
                </a:solidFill>
              </a:ln>
              <a:effectLst/>
            </c:spPr>
            <c:extLst>
              <c:ext xmlns:c16="http://schemas.microsoft.com/office/drawing/2014/chart" uri="{C3380CC4-5D6E-409C-BE32-E72D297353CC}">
                <c16:uniqueId val="{00000001-D267-4DE2-A224-CB6B6106C48F}"/>
              </c:ext>
            </c:extLst>
          </c:dPt>
          <c:dPt>
            <c:idx val="1"/>
            <c:bubble3D val="0"/>
            <c:spPr>
              <a:solidFill>
                <a:srgbClr val="00A3E0"/>
              </a:solidFill>
              <a:ln w="12700">
                <a:solidFill>
                  <a:schemeClr val="bg1"/>
                </a:solidFill>
              </a:ln>
              <a:effectLst/>
            </c:spPr>
            <c:extLst>
              <c:ext xmlns:c16="http://schemas.microsoft.com/office/drawing/2014/chart" uri="{C3380CC4-5D6E-409C-BE32-E72D297353CC}">
                <c16:uniqueId val="{00000003-D267-4DE2-A224-CB6B6106C48F}"/>
              </c:ext>
            </c:extLst>
          </c:dPt>
          <c:dPt>
            <c:idx val="2"/>
            <c:bubble3D val="0"/>
            <c:spPr>
              <a:solidFill>
                <a:srgbClr val="6FC2B4"/>
              </a:solidFill>
              <a:ln w="12700">
                <a:solidFill>
                  <a:schemeClr val="bg1"/>
                </a:solidFill>
              </a:ln>
              <a:effectLst/>
            </c:spPr>
            <c:extLst>
              <c:ext xmlns:c16="http://schemas.microsoft.com/office/drawing/2014/chart" uri="{C3380CC4-5D6E-409C-BE32-E72D297353CC}">
                <c16:uniqueId val="{00000005-D267-4DE2-A224-CB6B6106C48F}"/>
              </c:ext>
            </c:extLst>
          </c:dPt>
          <c:dLbls>
            <c:dLbl>
              <c:idx val="0"/>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267-4DE2-A224-CB6B6106C48F}"/>
                </c:ext>
              </c:extLst>
            </c:dLbl>
            <c:dLbl>
              <c:idx val="1"/>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267-4DE2-A224-CB6B6106C48F}"/>
                </c:ext>
              </c:extLst>
            </c:dLbl>
            <c:dLbl>
              <c:idx val="2"/>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267-4DE2-A224-CB6B6106C48F}"/>
                </c:ext>
              </c:extLst>
            </c:dLbl>
            <c:numFmt formatCode="#,##0.0,&quot;k&quot;"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0"/>
            <c:showBubbleSize val="0"/>
            <c:extLst>
              <c:ext xmlns:c15="http://schemas.microsoft.com/office/drawing/2012/chart" uri="{CE6537A1-D6FC-4f65-9D91-7224C49458BB}"/>
            </c:extLst>
          </c:dLbls>
          <c:cat>
            <c:strRef>
              <c:f>Charting!$S$97:$S$99</c:f>
              <c:strCache>
                <c:ptCount val="3"/>
                <c:pt idx="0">
                  <c:v>Rural Total FTEs</c:v>
                </c:pt>
                <c:pt idx="1">
                  <c:v>Metro Total FTEs</c:v>
                </c:pt>
                <c:pt idx="2">
                  <c:v>Provincial Total FTEs</c:v>
                </c:pt>
              </c:strCache>
            </c:strRef>
          </c:cat>
          <c:val>
            <c:numRef>
              <c:f>Charting!$T$97:$T$99</c:f>
              <c:numCache>
                <c:formatCode>_(* #,##0_);_(* \(#,##0\);_(* " - "_);_(* @_)</c:formatCode>
                <c:ptCount val="3"/>
                <c:pt idx="0">
                  <c:v>1084.9660956357645</c:v>
                </c:pt>
                <c:pt idx="1">
                  <c:v>10008.472309432715</c:v>
                </c:pt>
                <c:pt idx="2">
                  <c:v>4312.0514920170726</c:v>
                </c:pt>
              </c:numCache>
            </c:numRef>
          </c:val>
          <c:extLst>
            <c:ext xmlns:c16="http://schemas.microsoft.com/office/drawing/2014/chart" uri="{C3380CC4-5D6E-409C-BE32-E72D297353CC}">
              <c16:uniqueId val="{00000006-D267-4DE2-A224-CB6B6106C48F}"/>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NZ" dirty="0"/>
              <a:t>Estimated Water Workforce in 2031</a:t>
            </a:r>
            <a:br>
              <a:rPr lang="en-NZ" dirty="0"/>
            </a:br>
            <a:r>
              <a:rPr lang="en-NZ" dirty="0"/>
              <a:t>(by Council Profile)</a:t>
            </a:r>
          </a:p>
        </c:rich>
      </c:tx>
      <c:layout>
        <c:manualLayout>
          <c:xMode val="edge"/>
          <c:yMode val="edge"/>
          <c:x val="0.20597430555555554"/>
          <c:y val="4.1157407407407406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Charting!$T$96</c:f>
              <c:strCache>
                <c:ptCount val="1"/>
                <c:pt idx="0">
                  <c:v>2021</c:v>
                </c:pt>
              </c:strCache>
            </c:strRef>
          </c:tx>
          <c:spPr>
            <a:ln w="12700">
              <a:solidFill>
                <a:sysClr val="window" lastClr="FFFFFF"/>
              </a:solidFill>
            </a:ln>
          </c:spPr>
          <c:dPt>
            <c:idx val="0"/>
            <c:bubble3D val="0"/>
            <c:spPr>
              <a:solidFill>
                <a:srgbClr val="005587"/>
              </a:solidFill>
              <a:ln w="12700">
                <a:solidFill>
                  <a:sysClr val="window" lastClr="FFFFFF"/>
                </a:solidFill>
              </a:ln>
              <a:effectLst/>
            </c:spPr>
            <c:extLst>
              <c:ext xmlns:c16="http://schemas.microsoft.com/office/drawing/2014/chart" uri="{C3380CC4-5D6E-409C-BE32-E72D297353CC}">
                <c16:uniqueId val="{00000001-CAEB-4FB5-83F9-5F114788855F}"/>
              </c:ext>
            </c:extLst>
          </c:dPt>
          <c:dPt>
            <c:idx val="1"/>
            <c:bubble3D val="0"/>
            <c:spPr>
              <a:solidFill>
                <a:srgbClr val="00A3E0"/>
              </a:solidFill>
              <a:ln w="12700">
                <a:solidFill>
                  <a:sysClr val="window" lastClr="FFFFFF"/>
                </a:solidFill>
              </a:ln>
              <a:effectLst/>
            </c:spPr>
            <c:extLst>
              <c:ext xmlns:c16="http://schemas.microsoft.com/office/drawing/2014/chart" uri="{C3380CC4-5D6E-409C-BE32-E72D297353CC}">
                <c16:uniqueId val="{00000003-CAEB-4FB5-83F9-5F114788855F}"/>
              </c:ext>
            </c:extLst>
          </c:dPt>
          <c:dPt>
            <c:idx val="2"/>
            <c:bubble3D val="0"/>
            <c:spPr>
              <a:solidFill>
                <a:srgbClr val="6FC2B4"/>
              </a:solidFill>
              <a:ln w="12700">
                <a:solidFill>
                  <a:sysClr val="window" lastClr="FFFFFF"/>
                </a:solidFill>
              </a:ln>
              <a:effectLst/>
            </c:spPr>
            <c:extLst>
              <c:ext xmlns:c16="http://schemas.microsoft.com/office/drawing/2014/chart" uri="{C3380CC4-5D6E-409C-BE32-E72D297353CC}">
                <c16:uniqueId val="{00000005-CAEB-4FB5-83F9-5F114788855F}"/>
              </c:ext>
            </c:extLst>
          </c:dPt>
          <c:dLbls>
            <c:dLbl>
              <c:idx val="0"/>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AEB-4FB5-83F9-5F114788855F}"/>
                </c:ext>
              </c:extLst>
            </c:dLbl>
            <c:dLbl>
              <c:idx val="1"/>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AEB-4FB5-83F9-5F114788855F}"/>
                </c:ext>
              </c:extLst>
            </c:dLbl>
            <c:dLbl>
              <c:idx val="2"/>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AEB-4FB5-83F9-5F114788855F}"/>
                </c:ext>
              </c:extLst>
            </c:dLbl>
            <c:numFmt formatCode="#,##0.0,&quot;k&quot;"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0"/>
            <c:showBubbleSize val="0"/>
            <c:extLst>
              <c:ext xmlns:c15="http://schemas.microsoft.com/office/drawing/2012/chart" uri="{CE6537A1-D6FC-4f65-9D91-7224C49458BB}"/>
            </c:extLst>
          </c:dLbls>
          <c:cat>
            <c:strRef>
              <c:f>Charting!$S$97:$S$99</c:f>
              <c:strCache>
                <c:ptCount val="3"/>
                <c:pt idx="0">
                  <c:v>Rural Total FTEs</c:v>
                </c:pt>
                <c:pt idx="1">
                  <c:v>Metro Total FTEs</c:v>
                </c:pt>
                <c:pt idx="2">
                  <c:v>Provincial Total FTEs</c:v>
                </c:pt>
              </c:strCache>
            </c:strRef>
          </c:cat>
          <c:val>
            <c:numRef>
              <c:f>Charting!$U$97:$U$99</c:f>
              <c:numCache>
                <c:formatCode>_(* #,##0_);_(* \(#,##0\);_(* " - "_);_(* @_)</c:formatCode>
                <c:ptCount val="3"/>
                <c:pt idx="0">
                  <c:v>1415.1406344826651</c:v>
                </c:pt>
                <c:pt idx="1">
                  <c:v>19641.157941923175</c:v>
                </c:pt>
                <c:pt idx="2">
                  <c:v>6793.17219564683</c:v>
                </c:pt>
              </c:numCache>
            </c:numRef>
          </c:val>
          <c:extLst>
            <c:ext xmlns:c16="http://schemas.microsoft.com/office/drawing/2014/chart" uri="{C3380CC4-5D6E-409C-BE32-E72D297353CC}">
              <c16:uniqueId val="{00000006-CAEB-4FB5-83F9-5F114788855F}"/>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US" sz="1400" b="1" i="0" baseline="0" dirty="0">
                <a:effectLst/>
              </a:rPr>
              <a:t>Estimated Water Workforce in 2021</a:t>
            </a:r>
            <a:br>
              <a:rPr lang="en-US" sz="1400" b="1" i="0" baseline="0" dirty="0">
                <a:effectLst/>
              </a:rPr>
            </a:br>
            <a:r>
              <a:rPr lang="en-US" sz="1400" b="1" i="0" baseline="0" dirty="0">
                <a:effectLst/>
              </a:rPr>
              <a:t>(by Expenditure Type)</a:t>
            </a:r>
            <a:endParaRPr lang="en-NZ" sz="1400" dirty="0">
              <a:effectLst/>
            </a:endParaRPr>
          </a:p>
        </c:rich>
      </c:tx>
      <c:layout>
        <c:manualLayout>
          <c:xMode val="edge"/>
          <c:yMode val="edge"/>
          <c:x val="0.19715486111111111"/>
          <c:y val="7.0555555555555552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5501828703703705"/>
          <c:y val="0.28541064814814815"/>
          <c:w val="0.48996365740740738"/>
          <c:h val="0.48996365740740738"/>
        </c:manualLayout>
      </c:layout>
      <c:pieChart>
        <c:varyColors val="1"/>
        <c:ser>
          <c:idx val="0"/>
          <c:order val="0"/>
          <c:tx>
            <c:strRef>
              <c:f>Charting!$T$221</c:f>
              <c:strCache>
                <c:ptCount val="1"/>
                <c:pt idx="0">
                  <c:v>2021</c:v>
                </c:pt>
              </c:strCache>
            </c:strRef>
          </c:tx>
          <c:spPr>
            <a:ln w="12700">
              <a:solidFill>
                <a:sysClr val="window" lastClr="FFFFFF"/>
              </a:solidFill>
            </a:ln>
          </c:spPr>
          <c:dPt>
            <c:idx val="0"/>
            <c:bubble3D val="0"/>
            <c:spPr>
              <a:solidFill>
                <a:srgbClr val="00B0F0"/>
              </a:solidFill>
              <a:ln w="12700">
                <a:solidFill>
                  <a:sysClr val="window" lastClr="FFFFFF"/>
                </a:solidFill>
              </a:ln>
              <a:effectLst/>
            </c:spPr>
            <c:extLst>
              <c:ext xmlns:c16="http://schemas.microsoft.com/office/drawing/2014/chart" uri="{C3380CC4-5D6E-409C-BE32-E72D297353CC}">
                <c16:uniqueId val="{00000001-FE52-41BE-8762-0337F62004D3}"/>
              </c:ext>
            </c:extLst>
          </c:dPt>
          <c:dPt>
            <c:idx val="1"/>
            <c:bubble3D val="0"/>
            <c:spPr>
              <a:solidFill>
                <a:srgbClr val="6FC2B4"/>
              </a:solidFill>
              <a:ln w="12700">
                <a:solidFill>
                  <a:sysClr val="window" lastClr="FFFFFF"/>
                </a:solidFill>
              </a:ln>
              <a:effectLst/>
            </c:spPr>
            <c:extLst>
              <c:ext xmlns:c16="http://schemas.microsoft.com/office/drawing/2014/chart" uri="{C3380CC4-5D6E-409C-BE32-E72D297353CC}">
                <c16:uniqueId val="{00000003-FE52-41BE-8762-0337F62004D3}"/>
              </c:ext>
            </c:extLst>
          </c:dPt>
          <c:dPt>
            <c:idx val="2"/>
            <c:bubble3D val="0"/>
            <c:spPr>
              <a:solidFill>
                <a:srgbClr val="0D8390"/>
              </a:solidFill>
              <a:ln w="12700">
                <a:solidFill>
                  <a:sysClr val="window" lastClr="FFFFFF"/>
                </a:solidFill>
              </a:ln>
              <a:effectLst/>
            </c:spPr>
            <c:extLst>
              <c:ext xmlns:c16="http://schemas.microsoft.com/office/drawing/2014/chart" uri="{C3380CC4-5D6E-409C-BE32-E72D297353CC}">
                <c16:uniqueId val="{00000005-FE52-41BE-8762-0337F62004D3}"/>
              </c:ext>
            </c:extLst>
          </c:dPt>
          <c:dLbls>
            <c:dLbl>
              <c:idx val="0"/>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E52-41BE-8762-0337F62004D3}"/>
                </c:ext>
              </c:extLst>
            </c:dLbl>
            <c:dLbl>
              <c:idx val="1"/>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E52-41BE-8762-0337F62004D3}"/>
                </c:ext>
              </c:extLst>
            </c:dLbl>
            <c:dLbl>
              <c:idx val="2"/>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E52-41BE-8762-0337F62004D3}"/>
                </c:ext>
              </c:extLst>
            </c:dLbl>
            <c:numFmt formatCode="#,##0.0,&quot;k&quot;"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0"/>
            <c:showBubbleSize val="0"/>
            <c:extLst>
              <c:ext xmlns:c15="http://schemas.microsoft.com/office/drawing/2012/chart" uri="{CE6537A1-D6FC-4f65-9D91-7224C49458BB}"/>
            </c:extLst>
          </c:dLbls>
          <c:cat>
            <c:strRef>
              <c:f>Charting!$S$222:$S$223</c:f>
              <c:strCache>
                <c:ptCount val="2"/>
                <c:pt idx="0">
                  <c:v>Opex Total FTEs</c:v>
                </c:pt>
                <c:pt idx="1">
                  <c:v>Capex Total FTEs</c:v>
                </c:pt>
              </c:strCache>
            </c:strRef>
          </c:cat>
          <c:val>
            <c:numRef>
              <c:f>Charting!$T$222:$T$223</c:f>
              <c:numCache>
                <c:formatCode>_(* #,##0_);_(* \(#,##0\);_(* " - "_);_(* @_)</c:formatCode>
                <c:ptCount val="2"/>
                <c:pt idx="0">
                  <c:v>9676.5580844397664</c:v>
                </c:pt>
                <c:pt idx="1">
                  <c:v>5728.9318126457856</c:v>
                </c:pt>
              </c:numCache>
            </c:numRef>
          </c:val>
          <c:extLst>
            <c:ext xmlns:c16="http://schemas.microsoft.com/office/drawing/2014/chart" uri="{C3380CC4-5D6E-409C-BE32-E72D297353CC}">
              <c16:uniqueId val="{00000006-FE52-41BE-8762-0337F62004D3}"/>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a:pPr>
      <a:endParaRPr lang="en-US"/>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n-NZ" sz="1400" b="1" i="0" baseline="0" dirty="0">
                <a:effectLst/>
              </a:rPr>
              <a:t>Estimated Water Workforce in 2031</a:t>
            </a:r>
            <a:br>
              <a:rPr lang="en-NZ" sz="1400" b="1" i="0" baseline="0" dirty="0">
                <a:effectLst/>
              </a:rPr>
            </a:br>
            <a:r>
              <a:rPr lang="en-NZ" sz="1400" b="1" i="0" baseline="0" dirty="0">
                <a:effectLst/>
              </a:rPr>
              <a:t>(by Expenditure Type)</a:t>
            </a:r>
            <a:endParaRPr lang="en-NZ" sz="1400" dirty="0">
              <a:effectLst/>
            </a:endParaRPr>
          </a:p>
        </c:rich>
      </c:tx>
      <c:layout>
        <c:manualLayout>
          <c:xMode val="edge"/>
          <c:yMode val="edge"/>
          <c:x val="0.19715486111111111"/>
          <c:y val="6.173611111111111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Charting!$U$221</c:f>
              <c:strCache>
                <c:ptCount val="1"/>
                <c:pt idx="0">
                  <c:v>2031</c:v>
                </c:pt>
              </c:strCache>
            </c:strRef>
          </c:tx>
          <c:spPr>
            <a:ln w="12700">
              <a:solidFill>
                <a:sysClr val="window" lastClr="FFFFFF"/>
              </a:solidFill>
            </a:ln>
          </c:spPr>
          <c:dPt>
            <c:idx val="0"/>
            <c:bubble3D val="0"/>
            <c:spPr>
              <a:solidFill>
                <a:srgbClr val="00B0F0"/>
              </a:solidFill>
              <a:ln w="12700">
                <a:solidFill>
                  <a:sysClr val="window" lastClr="FFFFFF"/>
                </a:solidFill>
              </a:ln>
              <a:effectLst/>
            </c:spPr>
            <c:extLst>
              <c:ext xmlns:c16="http://schemas.microsoft.com/office/drawing/2014/chart" uri="{C3380CC4-5D6E-409C-BE32-E72D297353CC}">
                <c16:uniqueId val="{00000001-D2D2-46CF-9ADC-D11C5B527E40}"/>
              </c:ext>
            </c:extLst>
          </c:dPt>
          <c:dPt>
            <c:idx val="1"/>
            <c:bubble3D val="0"/>
            <c:spPr>
              <a:solidFill>
                <a:srgbClr val="6FC2B4"/>
              </a:solidFill>
              <a:ln w="12700">
                <a:solidFill>
                  <a:sysClr val="window" lastClr="FFFFFF"/>
                </a:solidFill>
              </a:ln>
              <a:effectLst/>
            </c:spPr>
            <c:extLst>
              <c:ext xmlns:c16="http://schemas.microsoft.com/office/drawing/2014/chart" uri="{C3380CC4-5D6E-409C-BE32-E72D297353CC}">
                <c16:uniqueId val="{00000003-D2D2-46CF-9ADC-D11C5B527E40}"/>
              </c:ext>
            </c:extLst>
          </c:dPt>
          <c:dPt>
            <c:idx val="2"/>
            <c:bubble3D val="0"/>
            <c:spPr>
              <a:solidFill>
                <a:srgbClr val="0D8390"/>
              </a:solidFill>
              <a:ln w="12700">
                <a:solidFill>
                  <a:sysClr val="window" lastClr="FFFFFF"/>
                </a:solidFill>
              </a:ln>
              <a:effectLst/>
            </c:spPr>
            <c:extLst>
              <c:ext xmlns:c16="http://schemas.microsoft.com/office/drawing/2014/chart" uri="{C3380CC4-5D6E-409C-BE32-E72D297353CC}">
                <c16:uniqueId val="{00000005-D2D2-46CF-9ADC-D11C5B527E40}"/>
              </c:ext>
            </c:extLst>
          </c:dPt>
          <c:dLbls>
            <c:dLbl>
              <c:idx val="0"/>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2D2-46CF-9ADC-D11C5B527E40}"/>
                </c:ext>
              </c:extLst>
            </c:dLbl>
            <c:dLbl>
              <c:idx val="1"/>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2D2-46CF-9ADC-D11C5B527E40}"/>
                </c:ext>
              </c:extLst>
            </c:dLbl>
            <c:dLbl>
              <c:idx val="2"/>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2D2-46CF-9ADC-D11C5B527E40}"/>
                </c:ext>
              </c:extLst>
            </c:dLbl>
            <c:numFmt formatCode="#,##0.0,&quot;k&quot;"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bestFit"/>
            <c:showLegendKey val="0"/>
            <c:showVal val="0"/>
            <c:showCatName val="0"/>
            <c:showSerName val="0"/>
            <c:showPercent val="0"/>
            <c:showBubbleSize val="0"/>
            <c:extLst>
              <c:ext xmlns:c15="http://schemas.microsoft.com/office/drawing/2012/chart" uri="{CE6537A1-D6FC-4f65-9D91-7224C49458BB}"/>
            </c:extLst>
          </c:dLbls>
          <c:cat>
            <c:strRef>
              <c:f>Charting!$S$222:$S$223</c:f>
              <c:strCache>
                <c:ptCount val="2"/>
                <c:pt idx="0">
                  <c:v>Opex Total FTEs</c:v>
                </c:pt>
                <c:pt idx="1">
                  <c:v>Capex Total FTEs</c:v>
                </c:pt>
              </c:strCache>
            </c:strRef>
          </c:cat>
          <c:val>
            <c:numRef>
              <c:f>Charting!$U$222:$U$223</c:f>
              <c:numCache>
                <c:formatCode>_(* #,##0_);_(* \(#,##0\);_(* " - "_);_(* @_)</c:formatCode>
                <c:ptCount val="2"/>
                <c:pt idx="0">
                  <c:v>20368.021512976025</c:v>
                </c:pt>
                <c:pt idx="1">
                  <c:v>7481.449259076644</c:v>
                </c:pt>
              </c:numCache>
            </c:numRef>
          </c:val>
          <c:extLst>
            <c:ext xmlns:c16="http://schemas.microsoft.com/office/drawing/2014/chart" uri="{C3380CC4-5D6E-409C-BE32-E72D297353CC}">
              <c16:uniqueId val="{00000006-D2D2-46CF-9ADC-D11C5B527E40}"/>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extLst/>
  </c:chart>
  <c:spPr>
    <a:noFill/>
    <a:ln w="9525" cap="flat" cmpd="sng" algn="ctr">
      <a:noFill/>
      <a:round/>
    </a:ln>
    <a:effectLst/>
  </c:spPr>
  <c:txPr>
    <a:bodyPr/>
    <a:lstStyle/>
    <a:p>
      <a:pPr>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b="1" i="0" baseline="0">
                <a:effectLst/>
              </a:rPr>
              <a:t>Estimated Water Workforce in 2021</a:t>
            </a:r>
            <a:br>
              <a:rPr lang="en-US" sz="1400" b="1" i="0" baseline="0">
                <a:effectLst/>
              </a:rPr>
            </a:br>
            <a:r>
              <a:rPr lang="en-US" sz="1400" b="1" i="0" baseline="0">
                <a:effectLst/>
              </a:rPr>
              <a:t>(by Role Type)</a:t>
            </a:r>
            <a:endParaRPr lang="en-NZ" sz="1400">
              <a:effectLst/>
            </a:endParaRPr>
          </a:p>
        </c:rich>
      </c:tx>
      <c:layout>
        <c:manualLayout>
          <c:xMode val="edge"/>
          <c:yMode val="edge"/>
          <c:x val="0.3709337301587301"/>
          <c:y val="2.565656565656565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FTE Calcs'!$AH$40</c:f>
              <c:strCache>
                <c:ptCount val="1"/>
                <c:pt idx="0">
                  <c:v>2021</c:v>
                </c:pt>
              </c:strCache>
            </c:strRef>
          </c:tx>
          <c:spPr>
            <a:ln>
              <a:noFill/>
            </a:ln>
          </c:spPr>
          <c:dPt>
            <c:idx val="0"/>
            <c:bubble3D val="0"/>
            <c:spPr>
              <a:solidFill>
                <a:srgbClr val="53565A"/>
              </a:solidFill>
              <a:ln w="19050">
                <a:noFill/>
              </a:ln>
              <a:effectLst/>
            </c:spPr>
            <c:extLst>
              <c:ext xmlns:c16="http://schemas.microsoft.com/office/drawing/2014/chart" uri="{C3380CC4-5D6E-409C-BE32-E72D297353CC}">
                <c16:uniqueId val="{00000001-5B22-4C67-976C-A41A3292537D}"/>
              </c:ext>
            </c:extLst>
          </c:dPt>
          <c:dPt>
            <c:idx val="1"/>
            <c:bubble3D val="0"/>
            <c:spPr>
              <a:solidFill>
                <a:srgbClr val="012169"/>
              </a:solidFill>
              <a:ln w="19050">
                <a:noFill/>
              </a:ln>
              <a:effectLst/>
            </c:spPr>
            <c:extLst>
              <c:ext xmlns:c16="http://schemas.microsoft.com/office/drawing/2014/chart" uri="{C3380CC4-5D6E-409C-BE32-E72D297353CC}">
                <c16:uniqueId val="{00000003-5B22-4C67-976C-A41A3292537D}"/>
              </c:ext>
            </c:extLst>
          </c:dPt>
          <c:dPt>
            <c:idx val="2"/>
            <c:bubble3D val="0"/>
            <c:spPr>
              <a:solidFill>
                <a:srgbClr val="007680"/>
              </a:solidFill>
              <a:ln w="19050">
                <a:noFill/>
              </a:ln>
              <a:effectLst/>
            </c:spPr>
            <c:extLst>
              <c:ext xmlns:c16="http://schemas.microsoft.com/office/drawing/2014/chart" uri="{C3380CC4-5D6E-409C-BE32-E72D297353CC}">
                <c16:uniqueId val="{00000005-5B22-4C67-976C-A41A3292537D}"/>
              </c:ext>
            </c:extLst>
          </c:dPt>
          <c:dPt>
            <c:idx val="3"/>
            <c:bubble3D val="0"/>
            <c:spPr>
              <a:solidFill>
                <a:srgbClr val="6FC2B4"/>
              </a:solidFill>
              <a:ln w="19050">
                <a:noFill/>
              </a:ln>
              <a:effectLst/>
            </c:spPr>
            <c:extLst>
              <c:ext xmlns:c16="http://schemas.microsoft.com/office/drawing/2014/chart" uri="{C3380CC4-5D6E-409C-BE32-E72D297353CC}">
                <c16:uniqueId val="{00000007-5B22-4C67-976C-A41A3292537D}"/>
              </c:ext>
            </c:extLst>
          </c:dPt>
          <c:dPt>
            <c:idx val="4"/>
            <c:bubble3D val="0"/>
            <c:spPr>
              <a:solidFill>
                <a:srgbClr val="43B02A"/>
              </a:solidFill>
              <a:ln w="19050">
                <a:noFill/>
              </a:ln>
              <a:effectLst/>
            </c:spPr>
            <c:extLst>
              <c:ext xmlns:c16="http://schemas.microsoft.com/office/drawing/2014/chart" uri="{C3380CC4-5D6E-409C-BE32-E72D297353CC}">
                <c16:uniqueId val="{00000009-5B22-4C67-976C-A41A3292537D}"/>
              </c:ext>
            </c:extLst>
          </c:dPt>
          <c:dPt>
            <c:idx val="5"/>
            <c:bubble3D val="0"/>
            <c:spPr>
              <a:solidFill>
                <a:srgbClr val="1D670A"/>
              </a:solidFill>
              <a:ln w="19050">
                <a:noFill/>
              </a:ln>
              <a:effectLst/>
            </c:spPr>
            <c:extLst>
              <c:ext xmlns:c16="http://schemas.microsoft.com/office/drawing/2014/chart" uri="{C3380CC4-5D6E-409C-BE32-E72D297353CC}">
                <c16:uniqueId val="{0000000B-5B22-4C67-976C-A41A3292537D}"/>
              </c:ext>
            </c:extLst>
          </c:dPt>
          <c:dLbls>
            <c:numFmt formatCode="#,##0.0,&quot;k&quot;"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TE Calcs'!$AG$41:$AG$46</c:f>
              <c:strCache>
                <c:ptCount val="6"/>
                <c:pt idx="0">
                  <c:v>Engineer</c:v>
                </c:pt>
                <c:pt idx="1">
                  <c:v>Senior Engineer</c:v>
                </c:pt>
                <c:pt idx="2">
                  <c:v>Project Manager</c:v>
                </c:pt>
                <c:pt idx="3">
                  <c:v>Technicians</c:v>
                </c:pt>
                <c:pt idx="4">
                  <c:v>Construction Worker</c:v>
                </c:pt>
                <c:pt idx="5">
                  <c:v>Business Services</c:v>
                </c:pt>
              </c:strCache>
            </c:strRef>
          </c:cat>
          <c:val>
            <c:numRef>
              <c:f>'FTE Calcs'!$AH$41:$AH$46</c:f>
              <c:numCache>
                <c:formatCode>0.00</c:formatCode>
                <c:ptCount val="6"/>
                <c:pt idx="0">
                  <c:v>839.64485379535688</c:v>
                </c:pt>
                <c:pt idx="1">
                  <c:v>1088.4666652658254</c:v>
                </c:pt>
                <c:pt idx="2">
                  <c:v>2042.5826473369882</c:v>
                </c:pt>
                <c:pt idx="3">
                  <c:v>2498.0197421251214</c:v>
                </c:pt>
                <c:pt idx="4">
                  <c:v>8299.8456678176462</c:v>
                </c:pt>
                <c:pt idx="5">
                  <c:v>609.03206433865932</c:v>
                </c:pt>
              </c:numCache>
            </c:numRef>
          </c:val>
          <c:extLst>
            <c:ext xmlns:c16="http://schemas.microsoft.com/office/drawing/2014/chart" uri="{C3380CC4-5D6E-409C-BE32-E72D297353CC}">
              <c16:uniqueId val="{0000000C-5B22-4C67-976C-A41A3292537D}"/>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l"/>
      <c:layout>
        <c:manualLayout>
          <c:xMode val="edge"/>
          <c:yMode val="edge"/>
          <c:x val="1.0445566467044854E-2"/>
          <c:y val="0.1496533631986755"/>
          <c:w val="0.20292582784198573"/>
          <c:h val="0.6237785203535417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rtl="0">
              <a:defRPr lang="en-NZ" sz="1400" b="1" i="0" u="none" strike="noStrike" kern="1200" spc="0" baseline="0">
                <a:solidFill>
                  <a:sysClr val="windowText" lastClr="000000">
                    <a:lumMod val="65000"/>
                    <a:lumOff val="35000"/>
                  </a:sysClr>
                </a:solidFill>
                <a:effectLst/>
                <a:latin typeface="+mn-lt"/>
                <a:ea typeface="+mn-ea"/>
                <a:cs typeface="+mn-cs"/>
              </a:defRPr>
            </a:pPr>
            <a:r>
              <a:rPr lang="en-NZ" sz="1400" b="1" i="0" u="none" strike="noStrike" kern="1200" spc="0" baseline="0" dirty="0">
                <a:solidFill>
                  <a:sysClr val="windowText" lastClr="000000">
                    <a:lumMod val="65000"/>
                    <a:lumOff val="35000"/>
                  </a:sysClr>
                </a:solidFill>
                <a:effectLst/>
                <a:latin typeface="+mn-lt"/>
                <a:ea typeface="+mn-ea"/>
                <a:cs typeface="+mn-cs"/>
              </a:rPr>
              <a:t>Estimated Water Workforce in 2031</a:t>
            </a:r>
            <a:br>
              <a:rPr lang="en-NZ" sz="1400" b="1" i="0" u="none" strike="noStrike" kern="1200" spc="0" baseline="0" dirty="0">
                <a:solidFill>
                  <a:sysClr val="windowText" lastClr="000000">
                    <a:lumMod val="65000"/>
                    <a:lumOff val="35000"/>
                  </a:sysClr>
                </a:solidFill>
                <a:effectLst/>
                <a:latin typeface="+mn-lt"/>
                <a:ea typeface="+mn-ea"/>
                <a:cs typeface="+mn-cs"/>
              </a:rPr>
            </a:br>
            <a:r>
              <a:rPr lang="en-NZ" sz="1400" b="1" i="0" u="none" strike="noStrike" kern="1200" spc="0" baseline="0" dirty="0">
                <a:solidFill>
                  <a:sysClr val="windowText" lastClr="000000">
                    <a:lumMod val="65000"/>
                    <a:lumOff val="35000"/>
                  </a:sysClr>
                </a:solidFill>
                <a:effectLst/>
                <a:latin typeface="+mn-lt"/>
                <a:ea typeface="+mn-ea"/>
                <a:cs typeface="+mn-cs"/>
              </a:rPr>
              <a:t>(by Role Type)</a:t>
            </a:r>
          </a:p>
        </c:rich>
      </c:tx>
      <c:layout>
        <c:manualLayout>
          <c:xMode val="edge"/>
          <c:yMode val="edge"/>
          <c:x val="0.33313611111111113"/>
          <c:y val="2.5656565656565655E-2"/>
        </c:manualLayout>
      </c:layout>
      <c:overlay val="0"/>
      <c:spPr>
        <a:noFill/>
        <a:ln>
          <a:noFill/>
        </a:ln>
        <a:effectLst/>
      </c:spPr>
      <c:txPr>
        <a:bodyPr rot="0" spcFirstLastPara="1" vertOverflow="ellipsis" vert="horz" wrap="square" anchor="ctr" anchorCtr="1"/>
        <a:lstStyle/>
        <a:p>
          <a:pPr algn="ctr" rtl="0">
            <a:defRPr lang="en-NZ" sz="1400" b="1" i="0" u="none" strike="noStrike" kern="1200" spc="0" baseline="0">
              <a:solidFill>
                <a:sysClr val="windowText" lastClr="000000">
                  <a:lumMod val="65000"/>
                  <a:lumOff val="35000"/>
                </a:sysClr>
              </a:solidFill>
              <a:effectLst/>
              <a:latin typeface="+mn-lt"/>
              <a:ea typeface="+mn-ea"/>
              <a:cs typeface="+mn-cs"/>
            </a:defRPr>
          </a:pPr>
          <a:endParaRPr lang="en-US"/>
        </a:p>
      </c:txPr>
    </c:title>
    <c:autoTitleDeleted val="0"/>
    <c:plotArea>
      <c:layout/>
      <c:pieChart>
        <c:varyColors val="1"/>
        <c:ser>
          <c:idx val="0"/>
          <c:order val="0"/>
          <c:tx>
            <c:strRef>
              <c:f>'FTE Calcs'!$AR$40</c:f>
              <c:strCache>
                <c:ptCount val="1"/>
                <c:pt idx="0">
                  <c:v>2031</c:v>
                </c:pt>
              </c:strCache>
            </c:strRef>
          </c:tx>
          <c:spPr>
            <a:ln>
              <a:noFill/>
            </a:ln>
          </c:spPr>
          <c:dPt>
            <c:idx val="0"/>
            <c:bubble3D val="0"/>
            <c:spPr>
              <a:solidFill>
                <a:srgbClr val="53565A"/>
              </a:solidFill>
              <a:ln w="19050">
                <a:noFill/>
              </a:ln>
              <a:effectLst/>
            </c:spPr>
            <c:extLst>
              <c:ext xmlns:c16="http://schemas.microsoft.com/office/drawing/2014/chart" uri="{C3380CC4-5D6E-409C-BE32-E72D297353CC}">
                <c16:uniqueId val="{00000001-4691-4189-BDC2-AD911F5826C3}"/>
              </c:ext>
            </c:extLst>
          </c:dPt>
          <c:dPt>
            <c:idx val="1"/>
            <c:bubble3D val="0"/>
            <c:spPr>
              <a:solidFill>
                <a:srgbClr val="012169"/>
              </a:solidFill>
              <a:ln w="19050">
                <a:noFill/>
              </a:ln>
              <a:effectLst/>
            </c:spPr>
            <c:extLst>
              <c:ext xmlns:c16="http://schemas.microsoft.com/office/drawing/2014/chart" uri="{C3380CC4-5D6E-409C-BE32-E72D297353CC}">
                <c16:uniqueId val="{00000003-4691-4189-BDC2-AD911F5826C3}"/>
              </c:ext>
            </c:extLst>
          </c:dPt>
          <c:dPt>
            <c:idx val="2"/>
            <c:bubble3D val="0"/>
            <c:spPr>
              <a:solidFill>
                <a:srgbClr val="007680"/>
              </a:solidFill>
              <a:ln w="19050">
                <a:noFill/>
              </a:ln>
              <a:effectLst/>
            </c:spPr>
            <c:extLst>
              <c:ext xmlns:c16="http://schemas.microsoft.com/office/drawing/2014/chart" uri="{C3380CC4-5D6E-409C-BE32-E72D297353CC}">
                <c16:uniqueId val="{00000005-4691-4189-BDC2-AD911F5826C3}"/>
              </c:ext>
            </c:extLst>
          </c:dPt>
          <c:dPt>
            <c:idx val="3"/>
            <c:bubble3D val="0"/>
            <c:spPr>
              <a:solidFill>
                <a:srgbClr val="6FC2B4"/>
              </a:solidFill>
              <a:ln w="19050">
                <a:noFill/>
              </a:ln>
              <a:effectLst/>
            </c:spPr>
            <c:extLst>
              <c:ext xmlns:c16="http://schemas.microsoft.com/office/drawing/2014/chart" uri="{C3380CC4-5D6E-409C-BE32-E72D297353CC}">
                <c16:uniqueId val="{00000007-4691-4189-BDC2-AD911F5826C3}"/>
              </c:ext>
            </c:extLst>
          </c:dPt>
          <c:dPt>
            <c:idx val="4"/>
            <c:bubble3D val="0"/>
            <c:spPr>
              <a:solidFill>
                <a:srgbClr val="43B02A"/>
              </a:solidFill>
              <a:ln w="19050">
                <a:noFill/>
              </a:ln>
              <a:effectLst/>
            </c:spPr>
            <c:extLst>
              <c:ext xmlns:c16="http://schemas.microsoft.com/office/drawing/2014/chart" uri="{C3380CC4-5D6E-409C-BE32-E72D297353CC}">
                <c16:uniqueId val="{00000009-4691-4189-BDC2-AD911F5826C3}"/>
              </c:ext>
            </c:extLst>
          </c:dPt>
          <c:dPt>
            <c:idx val="5"/>
            <c:bubble3D val="0"/>
            <c:spPr>
              <a:solidFill>
                <a:srgbClr val="1D670A"/>
              </a:solidFill>
              <a:ln w="19050">
                <a:noFill/>
              </a:ln>
              <a:effectLst/>
            </c:spPr>
            <c:extLst>
              <c:ext xmlns:c16="http://schemas.microsoft.com/office/drawing/2014/chart" uri="{C3380CC4-5D6E-409C-BE32-E72D297353CC}">
                <c16:uniqueId val="{0000000B-4691-4189-BDC2-AD911F5826C3}"/>
              </c:ext>
            </c:extLst>
          </c:dPt>
          <c:dLbls>
            <c:numFmt formatCode="#,##0.0,&quot;k&quot;"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US"/>
              </a:p>
            </c:txPr>
            <c:dLblPos val="bestFit"/>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TE Calcs'!$AG$41:$AG$46</c:f>
              <c:strCache>
                <c:ptCount val="6"/>
                <c:pt idx="0">
                  <c:v>Engineer</c:v>
                </c:pt>
                <c:pt idx="1">
                  <c:v>Senior Engineer</c:v>
                </c:pt>
                <c:pt idx="2">
                  <c:v>Project Manager</c:v>
                </c:pt>
                <c:pt idx="3">
                  <c:v>Technicians</c:v>
                </c:pt>
                <c:pt idx="4">
                  <c:v>Construction Worker</c:v>
                </c:pt>
                <c:pt idx="5">
                  <c:v>Business Services</c:v>
                </c:pt>
              </c:strCache>
            </c:strRef>
          </c:cat>
          <c:val>
            <c:numRef>
              <c:f>'FTE Calcs'!$AR$41:$AR$46</c:f>
              <c:numCache>
                <c:formatCode>0.00</c:formatCode>
                <c:ptCount val="6"/>
                <c:pt idx="0">
                  <c:v>1470.8289615699669</c:v>
                </c:pt>
                <c:pt idx="1">
                  <c:v>1836.7132345651739</c:v>
                </c:pt>
                <c:pt idx="2">
                  <c:v>3434.3001000017643</c:v>
                </c:pt>
                <c:pt idx="3">
                  <c:v>5213.6987431213074</c:v>
                </c:pt>
                <c:pt idx="4">
                  <c:v>14559.645440653985</c:v>
                </c:pt>
                <c:pt idx="5">
                  <c:v>1279.0852327571763</c:v>
                </c:pt>
              </c:numCache>
            </c:numRef>
          </c:val>
          <c:extLst>
            <c:ext xmlns:c16="http://schemas.microsoft.com/office/drawing/2014/chart" uri="{C3380CC4-5D6E-409C-BE32-E72D297353CC}">
              <c16:uniqueId val="{0000000C-4691-4189-BDC2-AD911F5826C3}"/>
            </c:ext>
          </c:extLst>
        </c:ser>
        <c:dLbls>
          <c:dLblPos val="bestFit"/>
          <c:showLegendKey val="0"/>
          <c:showVal val="1"/>
          <c:showCatName val="0"/>
          <c:showSerName val="0"/>
          <c:showPercent val="0"/>
          <c:showBubbleSize val="0"/>
          <c:showLeaderLines val="1"/>
        </c:dLbls>
        <c:firstSliceAng val="0"/>
      </c:pieChart>
      <c:spPr>
        <a:noFill/>
        <a:ln>
          <a:noFill/>
        </a:ln>
        <a:effectLst/>
      </c:spPr>
    </c:plotArea>
    <c:legend>
      <c:legendPos val="l"/>
      <c:layout>
        <c:manualLayout>
          <c:xMode val="edge"/>
          <c:yMode val="edge"/>
          <c:x val="1.0445566467044854E-2"/>
          <c:y val="0.1496533631986755"/>
          <c:w val="0.20292582784198573"/>
          <c:h val="0.6237785203535417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173784376551834E-2"/>
          <c:y val="0.10987342927006134"/>
          <c:w val="0.97005958096238221"/>
          <c:h val="0.78025314145987734"/>
        </c:manualLayout>
      </c:layout>
      <c:barChart>
        <c:barDir val="bar"/>
        <c:grouping val="stacked"/>
        <c:varyColors val="0"/>
        <c:ser>
          <c:idx val="0"/>
          <c:order val="0"/>
          <c:tx>
            <c:strRef>
              <c:f>Sheet2!$B$2</c:f>
              <c:strCache>
                <c:ptCount val="1"/>
                <c:pt idx="0">
                  <c:v>Consultants / Contractors</c:v>
                </c:pt>
              </c:strCache>
            </c:strRef>
          </c:tx>
          <c:spPr>
            <a:solidFill>
              <a:srgbClr val="0097A9"/>
            </a:solidFill>
            <a:ln>
              <a:noFill/>
            </a:ln>
            <a:effectLst/>
          </c:spPr>
          <c:invertIfNegative val="0"/>
          <c:dPt>
            <c:idx val="0"/>
            <c:invertIfNegative val="0"/>
            <c:bubble3D val="0"/>
            <c:spPr>
              <a:solidFill>
                <a:srgbClr val="0097A9"/>
              </a:solidFill>
              <a:ln>
                <a:noFill/>
              </a:ln>
              <a:effectLst/>
            </c:spPr>
            <c:extLst>
              <c:ext xmlns:c16="http://schemas.microsoft.com/office/drawing/2014/chart" uri="{C3380CC4-5D6E-409C-BE32-E72D297353CC}">
                <c16:uniqueId val="{00000003-F6F1-4273-B7BA-77C6ED4E8379}"/>
              </c:ext>
            </c:extLst>
          </c:dPt>
          <c:dLbls>
            <c:dLbl>
              <c:idx val="0"/>
              <c:tx>
                <c:rich>
                  <a:bodyPr/>
                  <a:lstStyle/>
                  <a:p>
                    <a:r>
                      <a:rPr lang="en-US" dirty="0"/>
                      <a:t>@ </a:t>
                    </a:r>
                    <a:fld id="{91153D55-4310-4B50-BC8B-7317D4BF15B9}" type="VALUE">
                      <a:rPr lang="en-US" smtClean="0"/>
                      <a:pPr/>
                      <a:t>[VALUE]</a:t>
                    </a:fld>
                    <a:endParaRPr lang="en-US" dirty="0"/>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6F1-4273-B7BA-77C6ED4E8379}"/>
                </c:ext>
              </c:extLst>
            </c:dLbl>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C$2</c:f>
              <c:numCache>
                <c:formatCode>0%</c:formatCode>
                <c:ptCount val="1"/>
                <c:pt idx="0">
                  <c:v>0.5</c:v>
                </c:pt>
              </c:numCache>
            </c:numRef>
          </c:val>
          <c:extLst>
            <c:ext xmlns:c16="http://schemas.microsoft.com/office/drawing/2014/chart" uri="{C3380CC4-5D6E-409C-BE32-E72D297353CC}">
              <c16:uniqueId val="{00000000-F6F1-4273-B7BA-77C6ED4E8379}"/>
            </c:ext>
          </c:extLst>
        </c:ser>
        <c:ser>
          <c:idx val="1"/>
          <c:order val="1"/>
          <c:tx>
            <c:strRef>
              <c:f>Sheet2!$B$3</c:f>
              <c:strCache>
                <c:ptCount val="1"/>
              </c:strCache>
            </c:strRef>
          </c:tx>
          <c:spPr>
            <a:solidFill>
              <a:srgbClr val="609959"/>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C$3</c:f>
              <c:numCache>
                <c:formatCode>0%</c:formatCode>
                <c:ptCount val="1"/>
              </c:numCache>
            </c:numRef>
          </c:val>
          <c:extLst>
            <c:ext xmlns:c16="http://schemas.microsoft.com/office/drawing/2014/chart" uri="{C3380CC4-5D6E-409C-BE32-E72D297353CC}">
              <c16:uniqueId val="{00000001-F6F1-4273-B7BA-77C6ED4E8379}"/>
            </c:ext>
          </c:extLst>
        </c:ser>
        <c:ser>
          <c:idx val="2"/>
          <c:order val="2"/>
          <c:tx>
            <c:strRef>
              <c:f>Sheet2!$B$4</c:f>
              <c:strCache>
                <c:ptCount val="1"/>
                <c:pt idx="0">
                  <c:v>Materials / Plant / Equipment</c:v>
                </c:pt>
              </c:strCache>
            </c:strRef>
          </c:tx>
          <c:spPr>
            <a:solidFill>
              <a:srgbClr val="17618C"/>
            </a:solidFill>
            <a:ln>
              <a:noFill/>
            </a:ln>
            <a:effectLst/>
          </c:spPr>
          <c:invertIfNegative val="0"/>
          <c:dLbls>
            <c:dLbl>
              <c:idx val="0"/>
              <c:tx>
                <c:rich>
                  <a:bodyPr/>
                  <a:lstStyle/>
                  <a:p>
                    <a:r>
                      <a:rPr lang="en-US" dirty="0"/>
                      <a:t>@ </a:t>
                    </a:r>
                    <a:fld id="{8FC51C45-6F15-44C2-8EE9-7C8CF381CE52}" type="VALUE">
                      <a:rPr lang="en-US" smtClean="0"/>
                      <a:pPr/>
                      <a:t>[VALUE]</a:t>
                    </a:fld>
                    <a:endParaRPr lang="en-US" dirty="0"/>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623C-43E1-A63D-95E2895B5190}"/>
                </c:ext>
              </c:extLst>
            </c:dLbl>
            <c:spPr>
              <a:noFill/>
              <a:ln>
                <a:noFill/>
              </a:ln>
              <a:effectLst/>
            </c:spPr>
            <c:txPr>
              <a:bodyPr rot="0" spcFirstLastPara="1" vertOverflow="ellipsis" vert="horz" wrap="square" anchor="ctr" anchorCtr="1"/>
              <a:lstStyle/>
              <a:p>
                <a:pPr>
                  <a:defRPr sz="1100" b="0" i="0" u="none" strike="noStrike" kern="1200" baseline="0">
                    <a:solidFill>
                      <a:schemeClr val="bg1"/>
                    </a:solidFill>
                    <a:latin typeface="Segoe UI Light" panose="020B0502040204020203" pitchFamily="34" charset="0"/>
                    <a:ea typeface="+mn-ea"/>
                    <a:cs typeface="Segoe UI Light" panose="020B0502040204020203"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2!$C$4</c:f>
              <c:numCache>
                <c:formatCode>0%</c:formatCode>
                <c:ptCount val="1"/>
                <c:pt idx="0">
                  <c:v>0.5</c:v>
                </c:pt>
              </c:numCache>
            </c:numRef>
          </c:val>
          <c:extLst>
            <c:ext xmlns:c16="http://schemas.microsoft.com/office/drawing/2014/chart" uri="{C3380CC4-5D6E-409C-BE32-E72D297353CC}">
              <c16:uniqueId val="{00000002-F6F1-4273-B7BA-77C6ED4E8379}"/>
            </c:ext>
          </c:extLst>
        </c:ser>
        <c:dLbls>
          <c:dLblPos val="ctr"/>
          <c:showLegendKey val="0"/>
          <c:showVal val="1"/>
          <c:showCatName val="0"/>
          <c:showSerName val="0"/>
          <c:showPercent val="0"/>
          <c:showBubbleSize val="0"/>
        </c:dLbls>
        <c:gapWidth val="150"/>
        <c:overlap val="100"/>
        <c:axId val="1729222336"/>
        <c:axId val="1727347776"/>
      </c:barChart>
      <c:catAx>
        <c:axId val="1729222336"/>
        <c:scaling>
          <c:orientation val="minMax"/>
        </c:scaling>
        <c:delete val="1"/>
        <c:axPos val="l"/>
        <c:numFmt formatCode="General" sourceLinked="1"/>
        <c:majorTickMark val="none"/>
        <c:minorTickMark val="none"/>
        <c:tickLblPos val="nextTo"/>
        <c:crossAx val="1727347776"/>
        <c:crosses val="autoZero"/>
        <c:auto val="1"/>
        <c:lblAlgn val="ctr"/>
        <c:lblOffset val="100"/>
        <c:noMultiLvlLbl val="0"/>
      </c:catAx>
      <c:valAx>
        <c:axId val="1727347776"/>
        <c:scaling>
          <c:orientation val="minMax"/>
        </c:scaling>
        <c:delete val="1"/>
        <c:axPos val="b"/>
        <c:numFmt formatCode="0%" sourceLinked="1"/>
        <c:majorTickMark val="none"/>
        <c:minorTickMark val="none"/>
        <c:tickLblPos val="nextTo"/>
        <c:crossAx val="1729222336"/>
        <c:crosses val="autoZero"/>
        <c:crossBetween val="between"/>
      </c:valAx>
      <c:spPr>
        <a:noFill/>
        <a:ln>
          <a:noFill/>
        </a:ln>
        <a:effectLst/>
      </c:spPr>
    </c:plotArea>
    <c:plotVisOnly val="1"/>
    <c:dispBlanksAs val="gap"/>
    <c:showDLblsOverMax val="0"/>
  </c:chart>
  <c:spPr>
    <a:noFill/>
    <a:ln>
      <a:noFill/>
    </a:ln>
    <a:effectLst/>
  </c:spPr>
  <c:txPr>
    <a:bodyPr/>
    <a:lstStyle/>
    <a:p>
      <a:pPr>
        <a:defRPr sz="1100">
          <a:solidFill>
            <a:schemeClr val="bg1"/>
          </a:solidFill>
          <a:latin typeface="Segoe UI Light" panose="020B0502040204020203" pitchFamily="34" charset="0"/>
          <a:cs typeface="Segoe UI Light" panose="020B0502040204020203"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8.7985566811834767E-2"/>
          <c:y val="9.4280014413114413E-2"/>
          <c:w val="0.88550380519279726"/>
          <c:h val="0.65614524148300146"/>
        </c:manualLayout>
      </c:layout>
      <c:barChart>
        <c:barDir val="col"/>
        <c:grouping val="stacked"/>
        <c:varyColors val="0"/>
        <c:ser>
          <c:idx val="1"/>
          <c:order val="0"/>
          <c:tx>
            <c:strRef>
              <c:f>'Sheet1 (2)'!$F$20</c:f>
              <c:strCache>
                <c:ptCount val="1"/>
                <c:pt idx="0">
                  <c:v>Base LTP Spend</c:v>
                </c:pt>
              </c:strCache>
            </c:strRef>
          </c:tx>
          <c:spPr>
            <a:solidFill>
              <a:schemeClr val="accent6"/>
            </a:solidFill>
            <a:ln>
              <a:noFill/>
            </a:ln>
            <a:effectLst>
              <a:outerShdw blurRad="50800" dist="38100" dir="2700000" algn="tl" rotWithShape="0">
                <a:prstClr val="black">
                  <a:alpha val="40000"/>
                </a:prstClr>
              </a:outerShdw>
            </a:effectLst>
          </c:spPr>
          <c:invertIfNegative val="0"/>
          <c:dPt>
            <c:idx val="0"/>
            <c:invertIfNegative val="0"/>
            <c:bubble3D val="0"/>
            <c:spPr>
              <a:solidFill>
                <a:schemeClr val="accent6"/>
              </a:solidFill>
              <a:ln>
                <a:noFill/>
              </a:ln>
              <a:effectLst>
                <a:outerShdw blurRad="50800" dist="38100" dir="2700000" algn="tl" rotWithShape="0">
                  <a:prstClr val="black">
                    <a:alpha val="40000"/>
                  </a:prstClr>
                </a:outerShdw>
              </a:effectLst>
            </c:spPr>
            <c:extLst>
              <c:ext xmlns:c16="http://schemas.microsoft.com/office/drawing/2014/chart" uri="{C3380CC4-5D6E-409C-BE32-E72D297353CC}">
                <c16:uniqueId val="{00000001-B606-4C5D-BBB4-4586E5405953}"/>
              </c:ext>
            </c:extLst>
          </c:dPt>
          <c:cat>
            <c:numRef>
              <c:f>'Sheet1 (2)'!$E$21:$E$30</c:f>
              <c:numCache>
                <c:formatCode>General</c:formatCode>
                <c:ptCount val="10"/>
                <c:pt idx="0">
                  <c:v>2021</c:v>
                </c:pt>
                <c:pt idx="1">
                  <c:v>2022</c:v>
                </c:pt>
                <c:pt idx="2">
                  <c:v>2023</c:v>
                </c:pt>
                <c:pt idx="3">
                  <c:v>2024</c:v>
                </c:pt>
                <c:pt idx="4">
                  <c:v>2025</c:v>
                </c:pt>
                <c:pt idx="5">
                  <c:v>2026</c:v>
                </c:pt>
                <c:pt idx="6">
                  <c:v>2027</c:v>
                </c:pt>
                <c:pt idx="7">
                  <c:v>2028</c:v>
                </c:pt>
                <c:pt idx="8">
                  <c:v>2029</c:v>
                </c:pt>
                <c:pt idx="9">
                  <c:v>2030</c:v>
                </c:pt>
              </c:numCache>
            </c:numRef>
          </c:cat>
          <c:val>
            <c:numRef>
              <c:f>'Sheet1 (2)'!$F$21:$F$30</c:f>
              <c:numCache>
                <c:formatCode>0.0</c:formatCode>
                <c:ptCount val="10"/>
                <c:pt idx="0">
                  <c:v>20</c:v>
                </c:pt>
                <c:pt idx="1">
                  <c:v>22</c:v>
                </c:pt>
                <c:pt idx="2">
                  <c:v>33.333333333333329</c:v>
                </c:pt>
                <c:pt idx="3">
                  <c:v>33.333333333333329</c:v>
                </c:pt>
                <c:pt idx="4">
                  <c:v>33.333333333333329</c:v>
                </c:pt>
                <c:pt idx="5">
                  <c:v>37.777777777777771</c:v>
                </c:pt>
                <c:pt idx="6">
                  <c:v>42.222222222222214</c:v>
                </c:pt>
                <c:pt idx="7">
                  <c:v>46.666666666666657</c:v>
                </c:pt>
                <c:pt idx="8">
                  <c:v>51.1111111111111</c:v>
                </c:pt>
                <c:pt idx="9">
                  <c:v>55.555555555555543</c:v>
                </c:pt>
              </c:numCache>
            </c:numRef>
          </c:val>
          <c:extLst>
            <c:ext xmlns:c16="http://schemas.microsoft.com/office/drawing/2014/chart" uri="{C3380CC4-5D6E-409C-BE32-E72D297353CC}">
              <c16:uniqueId val="{00000002-B606-4C5D-BBB4-4586E5405953}"/>
            </c:ext>
          </c:extLst>
        </c:ser>
        <c:ser>
          <c:idx val="2"/>
          <c:order val="1"/>
          <c:tx>
            <c:strRef>
              <c:f>'Sheet1 (2)'!$G$20</c:f>
              <c:strCache>
                <c:ptCount val="1"/>
                <c:pt idx="0">
                  <c:v>Reform uplift</c:v>
                </c:pt>
              </c:strCache>
            </c:strRef>
          </c:tx>
          <c:spPr>
            <a:solidFill>
              <a:srgbClr val="012169"/>
            </a:solidFill>
            <a:ln>
              <a:noFill/>
            </a:ln>
            <a:effectLst>
              <a:outerShdw blurRad="50800" dist="38100" dir="2700000" algn="tl" rotWithShape="0">
                <a:prstClr val="black">
                  <a:alpha val="40000"/>
                </a:prstClr>
              </a:outerShdw>
            </a:effectLst>
          </c:spPr>
          <c:invertIfNegative val="0"/>
          <c:cat>
            <c:numRef>
              <c:f>'Sheet1 (2)'!$E$21:$E$30</c:f>
              <c:numCache>
                <c:formatCode>General</c:formatCode>
                <c:ptCount val="10"/>
                <c:pt idx="0">
                  <c:v>2021</c:v>
                </c:pt>
                <c:pt idx="1">
                  <c:v>2022</c:v>
                </c:pt>
                <c:pt idx="2">
                  <c:v>2023</c:v>
                </c:pt>
                <c:pt idx="3">
                  <c:v>2024</c:v>
                </c:pt>
                <c:pt idx="4">
                  <c:v>2025</c:v>
                </c:pt>
                <c:pt idx="5">
                  <c:v>2026</c:v>
                </c:pt>
                <c:pt idx="6">
                  <c:v>2027</c:v>
                </c:pt>
                <c:pt idx="7">
                  <c:v>2028</c:v>
                </c:pt>
                <c:pt idx="8">
                  <c:v>2029</c:v>
                </c:pt>
                <c:pt idx="9">
                  <c:v>2030</c:v>
                </c:pt>
              </c:numCache>
            </c:numRef>
          </c:cat>
          <c:val>
            <c:numRef>
              <c:f>'Sheet1 (2)'!$G$21:$G$30</c:f>
              <c:numCache>
                <c:formatCode>General</c:formatCode>
                <c:ptCount val="10"/>
                <c:pt idx="4" formatCode="0.0">
                  <c:v>6.666666666666667</c:v>
                </c:pt>
                <c:pt idx="5" formatCode="0.0">
                  <c:v>13.333333333333334</c:v>
                </c:pt>
                <c:pt idx="6" formatCode="0.0">
                  <c:v>20</c:v>
                </c:pt>
                <c:pt idx="7" formatCode="0.0">
                  <c:v>26.666666666666668</c:v>
                </c:pt>
                <c:pt idx="8" formatCode="0.0">
                  <c:v>33.333333333333336</c:v>
                </c:pt>
                <c:pt idx="9" formatCode="0.0">
                  <c:v>40</c:v>
                </c:pt>
              </c:numCache>
            </c:numRef>
          </c:val>
          <c:extLst>
            <c:ext xmlns:c16="http://schemas.microsoft.com/office/drawing/2014/chart" uri="{C3380CC4-5D6E-409C-BE32-E72D297353CC}">
              <c16:uniqueId val="{00000003-B606-4C5D-BBB4-4586E5405953}"/>
            </c:ext>
          </c:extLst>
        </c:ser>
        <c:dLbls>
          <c:showLegendKey val="0"/>
          <c:showVal val="0"/>
          <c:showCatName val="0"/>
          <c:showSerName val="0"/>
          <c:showPercent val="0"/>
          <c:showBubbleSize val="0"/>
        </c:dLbls>
        <c:gapWidth val="54"/>
        <c:overlap val="100"/>
        <c:axId val="536901232"/>
        <c:axId val="327920719"/>
      </c:barChart>
      <c:catAx>
        <c:axId val="536901232"/>
        <c:scaling>
          <c:orientation val="minMax"/>
        </c:scaling>
        <c:delete val="0"/>
        <c:axPos val="b"/>
        <c:title>
          <c:tx>
            <c:rich>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NZ" sz="1200" b="1" dirty="0"/>
                  <a:t>Year</a:t>
                </a:r>
              </a:p>
            </c:rich>
          </c:tx>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bg2">
                <a:lumMod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crossAx val="327920719"/>
        <c:crosses val="autoZero"/>
        <c:auto val="1"/>
        <c:lblAlgn val="ctr"/>
        <c:lblOffset val="100"/>
        <c:noMultiLvlLbl val="0"/>
      </c:catAx>
      <c:valAx>
        <c:axId val="327920719"/>
        <c:scaling>
          <c:orientation val="minMax"/>
          <c:max val="100"/>
        </c:scaling>
        <c:delete val="0"/>
        <c:axPos val="l"/>
        <c:title>
          <c:tx>
            <c:rich>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r>
                  <a:rPr lang="en-NZ" sz="1200" b="1" dirty="0">
                    <a:solidFill>
                      <a:schemeClr val="tx1">
                        <a:lumMod val="65000"/>
                        <a:lumOff val="35000"/>
                      </a:schemeClr>
                    </a:solidFill>
                  </a:rPr>
                  <a:t>FTEs</a:t>
                </a:r>
              </a:p>
            </c:rich>
          </c:tx>
          <c:overlay val="0"/>
          <c:spPr>
            <a:noFill/>
            <a:ln>
              <a:noFill/>
            </a:ln>
            <a:effectLst/>
          </c:spPr>
          <c:txPr>
            <a:bodyPr rot="-54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US"/>
            </a:p>
          </c:txPr>
        </c:title>
        <c:numFmt formatCode="0" sourceLinked="0"/>
        <c:majorTickMark val="out"/>
        <c:minorTickMark val="none"/>
        <c:tickLblPos val="nextTo"/>
        <c:spPr>
          <a:noFill/>
          <a:ln>
            <a:solidFill>
              <a:schemeClr val="bg2">
                <a:lumMod val="75000"/>
              </a:schemeClr>
            </a:solidFill>
          </a:ln>
          <a:effectLst/>
        </c:spPr>
        <c:txPr>
          <a:bodyPr rot="-60000000" spcFirstLastPara="1" vertOverflow="ellipsis" vert="horz" wrap="square" anchor="ctr" anchorCtr="1"/>
          <a:lstStyle/>
          <a:p>
            <a:pPr>
              <a:defRPr sz="800" b="0" i="0" u="none" strike="noStrike" kern="1200" baseline="0">
                <a:solidFill>
                  <a:schemeClr val="bg1"/>
                </a:solidFill>
                <a:latin typeface="+mn-lt"/>
                <a:ea typeface="+mn-ea"/>
                <a:cs typeface="+mn-cs"/>
              </a:defRPr>
            </a:pPr>
            <a:endParaRPr lang="en-US"/>
          </a:p>
        </c:txPr>
        <c:crossAx val="536901232"/>
        <c:crosses val="autoZero"/>
        <c:crossBetween val="between"/>
      </c:valAx>
      <c:spPr>
        <a:noFill/>
        <a:ln>
          <a:noFill/>
        </a:ln>
        <a:effectLst/>
      </c:spPr>
    </c:plotArea>
    <c:legend>
      <c:legendPos val="r"/>
      <c:layout>
        <c:manualLayout>
          <c:xMode val="edge"/>
          <c:yMode val="edge"/>
          <c:x val="9.5988577129172345E-2"/>
          <c:y val="8.5203462468479707E-2"/>
          <c:w val="0.23004086829044876"/>
          <c:h val="0.1599843175962332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withinLinear" id="14">
  <a:schemeClr val="accent1"/>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3"/>
            <a:ext cx="2945862" cy="495793"/>
          </a:xfrm>
          <a:prstGeom prst="rect">
            <a:avLst/>
          </a:prstGeom>
        </p:spPr>
        <p:txBody>
          <a:bodyPr vert="horz" lIns="90905" tIns="45454" rIns="90905" bIns="45454"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3850295" y="3"/>
            <a:ext cx="2945862" cy="495793"/>
          </a:xfrm>
          <a:prstGeom prst="rect">
            <a:avLst/>
          </a:prstGeom>
        </p:spPr>
        <p:txBody>
          <a:bodyPr vert="horz" lIns="90905" tIns="45454" rIns="90905" bIns="45454" rtlCol="0"/>
          <a:lstStyle>
            <a:lvl1pPr algn="r">
              <a:defRPr sz="1100"/>
            </a:lvl1pPr>
          </a:lstStyle>
          <a:p>
            <a:fld id="{B4AD245C-091B-44E2-BFB0-BD94217887F7}" type="datetimeFigureOut">
              <a:rPr lang="en-US" smtClean="0">
                <a:latin typeface="Arial" panose="020B0604020202020204" pitchFamily="34" charset="0"/>
              </a:rPr>
              <a:t>10/17/2022</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429307"/>
            <a:ext cx="2945862" cy="495793"/>
          </a:xfrm>
          <a:prstGeom prst="rect">
            <a:avLst/>
          </a:prstGeom>
        </p:spPr>
        <p:txBody>
          <a:bodyPr vert="horz" lIns="90905" tIns="45454" rIns="90905" bIns="45454"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3850295" y="9429307"/>
            <a:ext cx="2945862" cy="495793"/>
          </a:xfrm>
          <a:prstGeom prst="rect">
            <a:avLst/>
          </a:prstGeom>
        </p:spPr>
        <p:txBody>
          <a:bodyPr vert="horz" lIns="90905" tIns="45454" rIns="90905" bIns="45454"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45659" cy="496332"/>
          </a:xfrm>
          <a:prstGeom prst="rect">
            <a:avLst/>
          </a:prstGeom>
        </p:spPr>
        <p:txBody>
          <a:bodyPr vert="horz" lIns="98470" tIns="49234" rIns="98470" bIns="49234"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3850446" y="1"/>
            <a:ext cx="2945659" cy="496332"/>
          </a:xfrm>
          <a:prstGeom prst="rect">
            <a:avLst/>
          </a:prstGeom>
        </p:spPr>
        <p:txBody>
          <a:bodyPr vert="horz" lIns="98470" tIns="49234" rIns="98470" bIns="49234" rtlCol="0"/>
          <a:lstStyle>
            <a:lvl1pPr algn="r">
              <a:defRPr sz="1200">
                <a:latin typeface="Arial" panose="020B0604020202020204" pitchFamily="34" charset="0"/>
              </a:defRPr>
            </a:lvl1pPr>
          </a:lstStyle>
          <a:p>
            <a:fld id="{0BA5BBE4-AEA3-489A-A28E-0C2FAF2506E3}" type="datetimeFigureOut">
              <a:rPr lang="en-US" smtClean="0"/>
              <a:pPr/>
              <a:t>10/17/2022</a:t>
            </a:fld>
            <a:endParaRPr lang="en-US" dirty="0"/>
          </a:p>
        </p:txBody>
      </p:sp>
      <p:sp>
        <p:nvSpPr>
          <p:cNvPr id="4" name="Slide Image Placeholder 3"/>
          <p:cNvSpPr>
            <a:spLocks noGrp="1" noRot="1" noChangeAspect="1"/>
          </p:cNvSpPr>
          <p:nvPr>
            <p:ph type="sldImg" idx="2"/>
          </p:nvPr>
        </p:nvSpPr>
        <p:spPr>
          <a:xfrm>
            <a:off x="92075" y="744538"/>
            <a:ext cx="6613525" cy="3721100"/>
          </a:xfrm>
          <a:prstGeom prst="rect">
            <a:avLst/>
          </a:prstGeom>
          <a:noFill/>
          <a:ln w="12700">
            <a:solidFill>
              <a:prstClr val="black"/>
            </a:solidFill>
          </a:ln>
        </p:spPr>
        <p:txBody>
          <a:bodyPr vert="horz" lIns="98470" tIns="49234" rIns="98470" bIns="49234" rtlCol="0" anchor="ctr"/>
          <a:lstStyle/>
          <a:p>
            <a:endParaRPr lang="en-GB" dirty="0"/>
          </a:p>
        </p:txBody>
      </p:sp>
      <p:sp>
        <p:nvSpPr>
          <p:cNvPr id="5" name="Notes Placeholder 4"/>
          <p:cNvSpPr>
            <a:spLocks noGrp="1"/>
          </p:cNvSpPr>
          <p:nvPr>
            <p:ph type="body" sz="quarter" idx="3"/>
          </p:nvPr>
        </p:nvSpPr>
        <p:spPr>
          <a:xfrm>
            <a:off x="679768" y="4715155"/>
            <a:ext cx="5438140" cy="4466987"/>
          </a:xfrm>
          <a:prstGeom prst="rect">
            <a:avLst/>
          </a:prstGeom>
        </p:spPr>
        <p:txBody>
          <a:bodyPr vert="horz" lIns="98470" tIns="49234" rIns="98470" bIns="4923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9428585"/>
            <a:ext cx="2945659" cy="496332"/>
          </a:xfrm>
          <a:prstGeom prst="rect">
            <a:avLst/>
          </a:prstGeom>
        </p:spPr>
        <p:txBody>
          <a:bodyPr vert="horz" lIns="98470" tIns="49234" rIns="98470" bIns="49234"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3850446" y="9428585"/>
            <a:ext cx="2945659" cy="496332"/>
          </a:xfrm>
          <a:prstGeom prst="rect">
            <a:avLst/>
          </a:prstGeom>
        </p:spPr>
        <p:txBody>
          <a:bodyPr vert="horz" lIns="98470" tIns="49234" rIns="98470" bIns="49234"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2075" y="744538"/>
            <a:ext cx="6613525" cy="3721100"/>
          </a:xfrm>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10"/>
          </p:nvPr>
        </p:nvSpPr>
        <p:spPr/>
        <p:txBody>
          <a:bodyPr/>
          <a:lstStyle/>
          <a:p>
            <a:fld id="{C0F4A2C8-6C88-4E71-83EE-698B9D4FE22F}" type="slidenum">
              <a:rPr lang="en-NZ" smtClean="0"/>
              <a:pPr/>
              <a:t>1</a:t>
            </a:fld>
            <a:endParaRPr lang="en-NZ" dirty="0"/>
          </a:p>
        </p:txBody>
      </p:sp>
    </p:spTree>
    <p:extLst>
      <p:ext uri="{BB962C8B-B14F-4D97-AF65-F5344CB8AC3E}">
        <p14:creationId xmlns:p14="http://schemas.microsoft.com/office/powerpoint/2010/main" val="15195127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dirty="0"/>
          </a:p>
        </p:txBody>
      </p:sp>
    </p:spTree>
    <p:extLst>
      <p:ext uri="{BB962C8B-B14F-4D97-AF65-F5344CB8AC3E}">
        <p14:creationId xmlns:p14="http://schemas.microsoft.com/office/powerpoint/2010/main" val="9086273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dirty="0"/>
          </a:p>
        </p:txBody>
      </p:sp>
    </p:spTree>
    <p:extLst>
      <p:ext uri="{BB962C8B-B14F-4D97-AF65-F5344CB8AC3E}">
        <p14:creationId xmlns:p14="http://schemas.microsoft.com/office/powerpoint/2010/main" val="42416175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3180353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2357484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dirty="0"/>
          </a:p>
        </p:txBody>
      </p:sp>
    </p:spTree>
    <p:extLst>
      <p:ext uri="{BB962C8B-B14F-4D97-AF65-F5344CB8AC3E}">
        <p14:creationId xmlns:p14="http://schemas.microsoft.com/office/powerpoint/2010/main" val="361118332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NZ"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4</a:t>
            </a:fld>
            <a:endParaRPr lang="en-US" dirty="0"/>
          </a:p>
        </p:txBody>
      </p:sp>
    </p:spTree>
    <p:extLst>
      <p:ext uri="{BB962C8B-B14F-4D97-AF65-F5344CB8AC3E}">
        <p14:creationId xmlns:p14="http://schemas.microsoft.com/office/powerpoint/2010/main" val="38462505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GB" noProof="0"/>
              <a:t>Click icon to add picture</a:t>
            </a:r>
            <a:endParaRPr lang="en-GB"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Master title style</a:t>
            </a:r>
            <a:endParaRPr lang="en-GB"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noProof="0" dirty="0"/>
          </a:p>
        </p:txBody>
      </p:sp>
    </p:spTree>
    <p:extLst>
      <p:ext uri="{BB962C8B-B14F-4D97-AF65-F5344CB8AC3E}">
        <p14:creationId xmlns:p14="http://schemas.microsoft.com/office/powerpoint/2010/main" val="3898970023"/>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GB" noProof="0" dirty="0"/>
              <a:t>Click to add title</a:t>
            </a:r>
            <a:endParaRPr lang="en-GB" dirty="0"/>
          </a:p>
        </p:txBody>
      </p:sp>
      <p:sp>
        <p:nvSpPr>
          <p:cNvPr id="5" name="Picture Placeholder 9"/>
          <p:cNvSpPr>
            <a:spLocks noGrp="1"/>
          </p:cNvSpPr>
          <p:nvPr>
            <p:ph type="pic" sz="quarter" idx="15"/>
          </p:nvPr>
        </p:nvSpPr>
        <p:spPr>
          <a:xfrm>
            <a:off x="5450351" y="1665288"/>
            <a:ext cx="6240000" cy="4716463"/>
          </a:xfrm>
        </p:spPr>
        <p:txBody>
          <a:bodyPr>
            <a:noAutofit/>
          </a:bodyPr>
          <a:lstStyle/>
          <a:p>
            <a:r>
              <a:rPr lang="en-GB" noProof="0"/>
              <a:t>Click icon to add picture</a:t>
            </a:r>
            <a:endParaRPr lang="en-GB"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Tree>
    <p:extLst>
      <p:ext uri="{BB962C8B-B14F-4D97-AF65-F5344CB8AC3E}">
        <p14:creationId xmlns:p14="http://schemas.microsoft.com/office/powerpoint/2010/main" val="738103440"/>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56674626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248759708"/>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GB" noProof="0"/>
              <a:t>Click icon to add chart</a:t>
            </a:r>
            <a:endParaRPr lang="en-GB"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GB" noProof="0"/>
              <a:t>Click to edit Master text styles</a:t>
            </a:r>
            <a:endParaRPr lang="en-GB" noProof="0" dirty="0"/>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GB"/>
              <a:t>Click to edit Master text styles</a:t>
            </a:r>
            <a:endParaRPr lang="en-GB" dirty="0"/>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840729474"/>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GB"/>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GB" noProof="0"/>
              <a:t>Click to edit Master text styles</a:t>
            </a:r>
            <a:endParaRPr lang="en-GB" noProof="0" dirty="0"/>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GB"/>
              <a:t>Click to edit Master text styles</a:t>
            </a:r>
            <a:endParaRPr lang="en-GB" dirty="0"/>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GB"/>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GB" noProof="0"/>
              <a:t>Click to edit Master text styles</a:t>
            </a:r>
            <a:endParaRPr lang="en-GB" noProof="0" dirty="0"/>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97757468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627984065"/>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noProof="0" dirty="0"/>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1961405370"/>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GB" noProof="0"/>
              <a:t>Click icon to add chart</a:t>
            </a:r>
            <a:endParaRPr lang="en-GB"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GB" noProof="0"/>
              <a:t>Click to edit Master text styles</a:t>
            </a:r>
            <a:endParaRPr lang="en-GB" noProof="0" dirty="0"/>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GB" noProof="0"/>
              <a:t>Click icon to add chart</a:t>
            </a:r>
            <a:endParaRPr lang="en-GB"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GB" noProof="0"/>
              <a:t>Click to edit Master text styles</a:t>
            </a:r>
            <a:endParaRPr lang="en-GB" noProof="0" dirty="0"/>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GB" noProof="0"/>
              <a:t>Click icon to add chart</a:t>
            </a:r>
            <a:endParaRPr lang="en-GB"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GB" noProof="0"/>
              <a:t>Click to edit Master text styles</a:t>
            </a:r>
            <a:endParaRPr lang="en-GB" noProof="0" dirty="0"/>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GB" noProof="0"/>
              <a:t>Click to edit Master text styles</a:t>
            </a:r>
            <a:endParaRPr lang="en-GB" noProof="0" dirty="0"/>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15261850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GB" noProof="0"/>
              <a:t>Click icon to add picture</a:t>
            </a:r>
            <a:endParaRPr lang="en-GB"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GB" noProof="0"/>
              <a:t>Click icon to add picture</a:t>
            </a:r>
            <a:endParaRPr lang="en-GB"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GB" noProof="0"/>
              <a:t>Click icon to add picture</a:t>
            </a:r>
            <a:endParaRPr lang="en-GB"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GB" noProof="0"/>
              <a:t>Click icon to add picture</a:t>
            </a:r>
            <a:endParaRPr lang="en-GB"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80763750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GB"/>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GB"/>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GB"/>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GB"/>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endParaRPr lang="en-GB" dirty="0"/>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endParaRPr lang="en-GB" dirty="0"/>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endParaRPr lang="en-GB" dirty="0"/>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endParaRPr lang="en-GB" dirty="0"/>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5" name="Rectangle 24">
            <a:extLst>
              <a:ext uri="{FF2B5EF4-FFF2-40B4-BE49-F238E27FC236}">
                <a16:creationId xmlns:a16="http://schemas.microsoft.com/office/drawing/2014/main" id="{8676016B-595B-4B09-8A9C-981F4092254D}"/>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Tree>
    <p:extLst>
      <p:ext uri="{BB962C8B-B14F-4D97-AF65-F5344CB8AC3E}">
        <p14:creationId xmlns:p14="http://schemas.microsoft.com/office/powerpoint/2010/main" val="403197155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GB" noProof="0"/>
              <a:t>Click icon to add picture</a:t>
            </a:r>
            <a:endParaRPr lang="en-GB"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noProof="0" dirty="0"/>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Master title style</a:t>
            </a:r>
            <a:endParaRPr lang="en-GB" dirty="0"/>
          </a:p>
        </p:txBody>
      </p:sp>
      <p:grpSp>
        <p:nvGrpSpPr>
          <p:cNvPr id="6" name="Group 5">
            <a:extLst>
              <a:ext uri="{FF2B5EF4-FFF2-40B4-BE49-F238E27FC236}">
                <a16:creationId xmlns:a16="http://schemas.microsoft.com/office/drawing/2014/main" id="{4DC58949-8DE8-6F4B-A58A-5B16CB0C749C}"/>
              </a:ext>
            </a:extLst>
          </p:cNvPr>
          <p:cNvGrpSpPr>
            <a:grpSpLocks noChangeAspect="1"/>
          </p:cNvGrpSpPr>
          <p:nvPr userDrawn="1"/>
        </p:nvGrpSpPr>
        <p:grpSpPr>
          <a:xfrm>
            <a:off x="475325" y="457200"/>
            <a:ext cx="1998000" cy="374400"/>
            <a:chOff x="398463" y="404813"/>
            <a:chExt cx="1627187" cy="307976"/>
          </a:xfrm>
          <a:solidFill>
            <a:schemeClr val="bg1"/>
          </a:solidFill>
        </p:grpSpPr>
        <p:sp>
          <p:nvSpPr>
            <p:cNvPr id="7" name="Oval 5">
              <a:extLst>
                <a:ext uri="{FF2B5EF4-FFF2-40B4-BE49-F238E27FC236}">
                  <a16:creationId xmlns:a16="http://schemas.microsoft.com/office/drawing/2014/main" id="{DD3BBDE7-EA41-D740-B7CE-2B1345F6436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8" name="Freeform 6">
              <a:extLst>
                <a:ext uri="{FF2B5EF4-FFF2-40B4-BE49-F238E27FC236}">
                  <a16:creationId xmlns:a16="http://schemas.microsoft.com/office/drawing/2014/main" id="{D663BACF-403E-0D49-9CA4-45CCE410C0C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CE97F996-6C92-A64E-BC05-6795993A3BD5}"/>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798DEFE3-EE76-B44F-81AD-41A4123E057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EC6228E0-FE1D-404B-ADF7-61BAAE68666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3163F31B-8A7B-704A-B588-907BBAA7F6D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B76B40D2-9B0E-C245-8CC6-955C3146A34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108CCBC3-453B-6A46-BFF1-434E3F448FD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BDAF9A0D-B93D-DB4C-9B8A-6043F141750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4">
              <a:extLst>
                <a:ext uri="{FF2B5EF4-FFF2-40B4-BE49-F238E27FC236}">
                  <a16:creationId xmlns:a16="http://schemas.microsoft.com/office/drawing/2014/main" id="{37EDEEA1-0528-6B48-B014-FCDDE7EB10B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20554464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a:solidFill>
                  <a:schemeClr val="bg1"/>
                </a:solidFill>
              </a:rPr>
              <a:t>Co-brand</a:t>
            </a:r>
            <a:br>
              <a:rPr lang="en-GB" sz="1200" noProof="0">
                <a:solidFill>
                  <a:schemeClr val="bg1"/>
                </a:solidFill>
              </a:rPr>
            </a:br>
            <a:r>
              <a:rPr lang="en-GB" sz="1200" noProof="0">
                <a:solidFill>
                  <a:schemeClr val="bg1"/>
                </a:solidFill>
              </a:rPr>
              <a:t>Logo</a:t>
            </a:r>
            <a:endParaRPr lang="en-GB" dirty="0"/>
          </a:p>
          <a:p>
            <a:endParaRPr lang="en-GB"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a:solidFill>
                  <a:schemeClr val="bg1"/>
                </a:solidFill>
              </a:rPr>
              <a:t>Co-brand</a:t>
            </a:r>
            <a:br>
              <a:rPr lang="en-GB" sz="1200" noProof="0">
                <a:solidFill>
                  <a:schemeClr val="bg1"/>
                </a:solidFill>
              </a:rPr>
            </a:br>
            <a:r>
              <a:rPr lang="en-GB" sz="1200" noProof="0">
                <a:solidFill>
                  <a:schemeClr val="bg1"/>
                </a:solidFill>
              </a:rPr>
              <a:t>Logo</a:t>
            </a:r>
            <a:endParaRPr lang="en-GB" dirty="0"/>
          </a:p>
          <a:p>
            <a:endParaRPr lang="en-GB"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
        <p:nvSpPr>
          <p:cNvPr id="14" name="Rectangle 13">
            <a:extLst>
              <a:ext uri="{FF2B5EF4-FFF2-40B4-BE49-F238E27FC236}">
                <a16:creationId xmlns:a16="http://schemas.microsoft.com/office/drawing/2014/main" id="{D360E003-ECB4-492B-8A94-28433C076FF8}"/>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5" name="Rectangle 14">
            <a:extLst>
              <a:ext uri="{FF2B5EF4-FFF2-40B4-BE49-F238E27FC236}">
                <a16:creationId xmlns:a16="http://schemas.microsoft.com/office/drawing/2014/main" id="{2D54539A-8172-4D14-BE07-3622A53C73DF}"/>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Tree>
    <p:extLst>
      <p:ext uri="{BB962C8B-B14F-4D97-AF65-F5344CB8AC3E}">
        <p14:creationId xmlns:p14="http://schemas.microsoft.com/office/powerpoint/2010/main" val="1236768039"/>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Tree>
    <p:extLst>
      <p:ext uri="{BB962C8B-B14F-4D97-AF65-F5344CB8AC3E}">
        <p14:creationId xmlns:p14="http://schemas.microsoft.com/office/powerpoint/2010/main" val="948382095"/>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Tree>
    <p:extLst>
      <p:ext uri="{BB962C8B-B14F-4D97-AF65-F5344CB8AC3E}">
        <p14:creationId xmlns:p14="http://schemas.microsoft.com/office/powerpoint/2010/main" val="2285127962"/>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GB" noProof="0"/>
              <a:t>Click icon to add picture</a:t>
            </a:r>
            <a:endParaRPr lang="en-GB" dirty="0"/>
          </a:p>
        </p:txBody>
      </p:sp>
      <p:sp>
        <p:nvSpPr>
          <p:cNvPr id="5" name="Picture Placeholder 7"/>
          <p:cNvSpPr>
            <a:spLocks noGrp="1"/>
          </p:cNvSpPr>
          <p:nvPr>
            <p:ph type="pic" sz="quarter" idx="14"/>
          </p:nvPr>
        </p:nvSpPr>
        <p:spPr>
          <a:xfrm>
            <a:off x="8006398" y="1674087"/>
            <a:ext cx="3683953" cy="1971675"/>
          </a:xfrm>
        </p:spPr>
        <p:txBody>
          <a:bodyPr/>
          <a:lstStyle/>
          <a:p>
            <a:r>
              <a:rPr lang="en-GB" noProof="0"/>
              <a:t>Click icon to add picture</a:t>
            </a:r>
            <a:endParaRPr lang="en-GB" dirty="0"/>
          </a:p>
        </p:txBody>
      </p:sp>
      <p:sp>
        <p:nvSpPr>
          <p:cNvPr id="6" name="Picture Placeholder 7"/>
          <p:cNvSpPr>
            <a:spLocks noGrp="1"/>
          </p:cNvSpPr>
          <p:nvPr>
            <p:ph type="pic" sz="quarter" idx="15"/>
          </p:nvPr>
        </p:nvSpPr>
        <p:spPr>
          <a:xfrm>
            <a:off x="4273075" y="1674087"/>
            <a:ext cx="3657600" cy="1971675"/>
          </a:xfrm>
        </p:spPr>
        <p:txBody>
          <a:bodyPr/>
          <a:lstStyle/>
          <a:p>
            <a:r>
              <a:rPr lang="en-GB" noProof="0"/>
              <a:t>Click icon to add picture</a:t>
            </a:r>
            <a:endParaRPr lang="en-GB"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1334485603"/>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521952939"/>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43432114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74841521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01054434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519788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GB"/>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lstStyle/>
          <a:p>
            <a:pPr lvl="0"/>
            <a:r>
              <a:rPr lang="en-GB" noProof="0"/>
              <a:t>Click to edit Master text styles</a:t>
            </a:r>
            <a:endParaRPr lang="en-GB" noProof="0" dirty="0"/>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GB"/>
              <a:t>Click to edit Master text styles</a:t>
            </a:r>
            <a:endParaRPr lang="en-GB" dirty="0"/>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890847006"/>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dirty="0"/>
              <a:t>Click to </a:t>
            </a:r>
            <a:r>
              <a:rPr lang="en-GB" noProof="0"/>
              <a:t>edit </a:t>
            </a:r>
            <a:br>
              <a:rPr lang="en-GB" noProof="0"/>
            </a:br>
            <a:r>
              <a:rPr lang="en-GB" noProof="0"/>
              <a:t>Master </a:t>
            </a:r>
            <a:r>
              <a:rPr lang="en-GB" noProof="0" dirty="0"/>
              <a:t>title style</a:t>
            </a:r>
            <a:endParaRPr lang="en-GB"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noProof="0" dirty="0"/>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1" y="725455"/>
            <a:ext cx="5356735" cy="5356735"/>
          </a:xfrm>
          <a:prstGeom prst="ellipse">
            <a:avLst/>
          </a:prstGeom>
          <a:ln w="25400">
            <a:solidFill>
              <a:schemeClr val="accent1"/>
            </a:solidFill>
          </a:ln>
        </p:spPr>
        <p:txBody>
          <a:bodyPr vert="horz" lIns="108000" tIns="108000" rIns="108000" bIns="108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GB" dirty="0"/>
              <a:t>Click to edit Master title style</a:t>
            </a:r>
          </a:p>
        </p:txBody>
      </p:sp>
    </p:spTree>
    <p:extLst>
      <p:ext uri="{BB962C8B-B14F-4D97-AF65-F5344CB8AC3E}">
        <p14:creationId xmlns:p14="http://schemas.microsoft.com/office/powerpoint/2010/main" val="2488153871"/>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dirty="0"/>
              <a:t>Click to add title</a:t>
            </a:r>
          </a:p>
        </p:txBody>
      </p:sp>
    </p:spTree>
    <p:extLst>
      <p:ext uri="{BB962C8B-B14F-4D97-AF65-F5344CB8AC3E}">
        <p14:creationId xmlns:p14="http://schemas.microsoft.com/office/powerpoint/2010/main" val="3774773341"/>
      </p:ext>
    </p:extLst>
  </p:cSld>
  <p:clrMapOvr>
    <a:masterClrMapping/>
  </p:clrMapOvr>
  <p:transition>
    <p:fade/>
  </p:transition>
  <p:hf hdr="0" dt="0"/>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63719246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488376507"/>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3" name="Chart Placeholder 2"/>
          <p:cNvSpPr>
            <a:spLocks noGrp="1"/>
          </p:cNvSpPr>
          <p:nvPr>
            <p:ph type="chart" sz="quarter" idx="21"/>
          </p:nvPr>
        </p:nvSpPr>
        <p:spPr>
          <a:xfrm>
            <a:off x="6341223" y="2125013"/>
            <a:ext cx="5349128" cy="3996000"/>
          </a:xfrm>
        </p:spPr>
        <p:txBody>
          <a:bodyPr/>
          <a:lstStyle/>
          <a:p>
            <a:r>
              <a:rPr lang="en-GB" noProof="0"/>
              <a:t>Click icon to add chart</a:t>
            </a:r>
            <a:endParaRPr lang="en-GB" dirty="0"/>
          </a:p>
        </p:txBody>
      </p:sp>
      <p:sp>
        <p:nvSpPr>
          <p:cNvPr id="6" name="Text Placeholder 5"/>
          <p:cNvSpPr>
            <a:spLocks noGrp="1"/>
          </p:cNvSpPr>
          <p:nvPr>
            <p:ph type="body" sz="quarter" idx="22"/>
          </p:nvPr>
        </p:nvSpPr>
        <p:spPr>
          <a:xfrm>
            <a:off x="6341223" y="1665288"/>
            <a:ext cx="5349128" cy="420687"/>
          </a:xfrm>
        </p:spPr>
        <p:txBody>
          <a:bodyPr/>
          <a:lstStyle/>
          <a:p>
            <a:pPr lvl="0"/>
            <a:r>
              <a:rPr lang="en-GB" noProof="0"/>
              <a:t>Click to edit Master text styles</a:t>
            </a:r>
            <a:endParaRPr lang="en-GB" noProof="0" dirty="0"/>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GB"/>
              <a:t>Click to edit Master text styles</a:t>
            </a:r>
            <a:endParaRPr lang="en-GB" dirty="0"/>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072480636"/>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GB"/>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GB" noProof="0"/>
              <a:t>Click to edit Master text styles</a:t>
            </a:r>
            <a:endParaRPr lang="en-GB" noProof="0" dirty="0"/>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GB"/>
              <a:t>Click to edit Master text styles</a:t>
            </a:r>
            <a:endParaRPr lang="en-GB" dirty="0"/>
          </a:p>
        </p:txBody>
      </p:sp>
      <p:sp>
        <p:nvSpPr>
          <p:cNvPr id="9" name="Chart Placeholder 2"/>
          <p:cNvSpPr>
            <a:spLocks noGrp="1"/>
          </p:cNvSpPr>
          <p:nvPr>
            <p:ph type="chart" sz="quarter" idx="24"/>
          </p:nvPr>
        </p:nvSpPr>
        <p:spPr>
          <a:xfrm>
            <a:off x="501650" y="2125013"/>
            <a:ext cx="5349240" cy="3996000"/>
          </a:xfrm>
        </p:spPr>
        <p:txBody>
          <a:bodyPr/>
          <a:lstStyle/>
          <a:p>
            <a:r>
              <a:rPr lang="en-GB"/>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lstStyle/>
          <a:p>
            <a:pPr lvl="0"/>
            <a:r>
              <a:rPr lang="en-GB" noProof="0"/>
              <a:t>Click to edit Master text styles</a:t>
            </a:r>
            <a:endParaRPr lang="en-GB" noProof="0" dirty="0"/>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441928252"/>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8" name="Content Placeholder 3"/>
          <p:cNvSpPr>
            <a:spLocks noGrp="1"/>
          </p:cNvSpPr>
          <p:nvPr>
            <p:ph sz="quarter" idx="16"/>
          </p:nvPr>
        </p:nvSpPr>
        <p:spPr>
          <a:xfrm>
            <a:off x="5450349" y="1665289"/>
            <a:ext cx="6240000" cy="4716463"/>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1387654887"/>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a:t>Click to edit Master text styles</a:t>
            </a:r>
            <a:endParaRPr lang="en-GB" noProof="0" dirty="0"/>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23397018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GB" noProof="0"/>
              <a:t>Click icon to add chart</a:t>
            </a:r>
            <a:endParaRPr lang="en-GB" dirty="0"/>
          </a:p>
        </p:txBody>
      </p:sp>
      <p:sp>
        <p:nvSpPr>
          <p:cNvPr id="18" name="Text Placeholder 8"/>
          <p:cNvSpPr>
            <a:spLocks noGrp="1"/>
          </p:cNvSpPr>
          <p:nvPr>
            <p:ph type="body" sz="quarter" idx="18"/>
          </p:nvPr>
        </p:nvSpPr>
        <p:spPr>
          <a:xfrm>
            <a:off x="501650" y="1659145"/>
            <a:ext cx="3549549" cy="392112"/>
          </a:xfrm>
        </p:spPr>
        <p:txBody>
          <a:bodyPr/>
          <a:lstStyle/>
          <a:p>
            <a:pPr lvl="0"/>
            <a:r>
              <a:rPr lang="en-GB" noProof="0"/>
              <a:t>Click to edit Master text styles</a:t>
            </a:r>
            <a:endParaRPr lang="en-GB" noProof="0" dirty="0"/>
          </a:p>
        </p:txBody>
      </p:sp>
      <p:sp>
        <p:nvSpPr>
          <p:cNvPr id="7" name="Chart Placeholder 3"/>
          <p:cNvSpPr>
            <a:spLocks noGrp="1"/>
          </p:cNvSpPr>
          <p:nvPr>
            <p:ph type="chart" sz="quarter" idx="19"/>
          </p:nvPr>
        </p:nvSpPr>
        <p:spPr>
          <a:xfrm>
            <a:off x="4322401" y="2051999"/>
            <a:ext cx="3549549" cy="4069014"/>
          </a:xfrm>
          <a:prstGeom prst="rect">
            <a:avLst/>
          </a:prstGeom>
        </p:spPr>
        <p:txBody>
          <a:bodyPr/>
          <a:lstStyle/>
          <a:p>
            <a:r>
              <a:rPr lang="en-GB" noProof="0"/>
              <a:t>Click icon to add chart</a:t>
            </a:r>
            <a:endParaRPr lang="en-GB" dirty="0"/>
          </a:p>
        </p:txBody>
      </p:sp>
      <p:sp>
        <p:nvSpPr>
          <p:cNvPr id="8" name="Text Placeholder 8"/>
          <p:cNvSpPr>
            <a:spLocks noGrp="1"/>
          </p:cNvSpPr>
          <p:nvPr>
            <p:ph type="body" sz="quarter" idx="20"/>
          </p:nvPr>
        </p:nvSpPr>
        <p:spPr>
          <a:xfrm>
            <a:off x="4321226" y="1659145"/>
            <a:ext cx="3549549" cy="392112"/>
          </a:xfrm>
        </p:spPr>
        <p:txBody>
          <a:bodyPr/>
          <a:lstStyle/>
          <a:p>
            <a:pPr lvl="0"/>
            <a:r>
              <a:rPr lang="en-GB" noProof="0"/>
              <a:t>Click to edit Master text styles</a:t>
            </a:r>
            <a:endParaRPr lang="en-GB" noProof="0" dirty="0"/>
          </a:p>
        </p:txBody>
      </p:sp>
      <p:sp>
        <p:nvSpPr>
          <p:cNvPr id="9" name="Chart Placeholder 3"/>
          <p:cNvSpPr>
            <a:spLocks noGrp="1"/>
          </p:cNvSpPr>
          <p:nvPr>
            <p:ph type="chart" sz="quarter" idx="21"/>
          </p:nvPr>
        </p:nvSpPr>
        <p:spPr>
          <a:xfrm>
            <a:off x="8140801" y="2051999"/>
            <a:ext cx="3549549" cy="4069014"/>
          </a:xfrm>
          <a:prstGeom prst="rect">
            <a:avLst/>
          </a:prstGeom>
        </p:spPr>
        <p:txBody>
          <a:bodyPr/>
          <a:lstStyle/>
          <a:p>
            <a:r>
              <a:rPr lang="en-GB" noProof="0"/>
              <a:t>Click icon to add chart</a:t>
            </a:r>
            <a:endParaRPr lang="en-GB" dirty="0"/>
          </a:p>
        </p:txBody>
      </p:sp>
      <p:sp>
        <p:nvSpPr>
          <p:cNvPr id="10" name="Text Placeholder 8"/>
          <p:cNvSpPr>
            <a:spLocks noGrp="1"/>
          </p:cNvSpPr>
          <p:nvPr>
            <p:ph type="body" sz="quarter" idx="22"/>
          </p:nvPr>
        </p:nvSpPr>
        <p:spPr>
          <a:xfrm>
            <a:off x="8140801" y="1659145"/>
            <a:ext cx="3549549" cy="398256"/>
          </a:xfrm>
        </p:spPr>
        <p:txBody>
          <a:bodyPr/>
          <a:lstStyle/>
          <a:p>
            <a:pPr lvl="0"/>
            <a:r>
              <a:rPr lang="en-GB" noProof="0"/>
              <a:t>Click to edit Master text styles</a:t>
            </a:r>
            <a:endParaRPr lang="en-GB" noProof="0" dirty="0"/>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GB" noProof="0"/>
              <a:t>Click to edit Master text styles</a:t>
            </a:r>
            <a:endParaRPr lang="en-GB" noProof="0" dirty="0"/>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27170507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GB" noProof="0"/>
              <a:t>Click icon to add picture</a:t>
            </a:r>
            <a:endParaRPr lang="en-GB"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GB" noProof="0"/>
              <a:t>Click icon to add picture</a:t>
            </a:r>
            <a:endParaRPr lang="en-GB"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GB" noProof="0"/>
              <a:t>Click icon to add picture</a:t>
            </a:r>
            <a:endParaRPr lang="en-GB"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GB" noProof="0"/>
              <a:t>Click icon to add picture</a:t>
            </a:r>
            <a:endParaRPr lang="en-GB" dirty="0"/>
          </a:p>
        </p:txBody>
      </p:sp>
      <p:sp>
        <p:nvSpPr>
          <p:cNvPr id="9" name="Text Placeholder 8"/>
          <p:cNvSpPr>
            <a:spLocks noGrp="1"/>
          </p:cNvSpPr>
          <p:nvPr>
            <p:ph type="body" sz="quarter" idx="17"/>
          </p:nvPr>
        </p:nvSpPr>
        <p:spPr>
          <a:xfrm>
            <a:off x="501650" y="3124200"/>
            <a:ext cx="2720468" cy="3257548"/>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0" name="Text Placeholder 8"/>
          <p:cNvSpPr>
            <a:spLocks noGrp="1"/>
          </p:cNvSpPr>
          <p:nvPr>
            <p:ph type="body" sz="quarter" idx="18"/>
          </p:nvPr>
        </p:nvSpPr>
        <p:spPr>
          <a:xfrm>
            <a:off x="6149963" y="3120551"/>
            <a:ext cx="2712000" cy="3261199"/>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1" name="Text Placeholder 8"/>
          <p:cNvSpPr>
            <a:spLocks noGrp="1"/>
          </p:cNvSpPr>
          <p:nvPr>
            <p:ph type="body" sz="quarter" idx="19"/>
          </p:nvPr>
        </p:nvSpPr>
        <p:spPr>
          <a:xfrm>
            <a:off x="3330040" y="3124200"/>
            <a:ext cx="2712000" cy="3257549"/>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2" name="Text Placeholder 8"/>
          <p:cNvSpPr>
            <a:spLocks noGrp="1"/>
          </p:cNvSpPr>
          <p:nvPr>
            <p:ph type="body" sz="quarter" idx="20"/>
          </p:nvPr>
        </p:nvSpPr>
        <p:spPr>
          <a:xfrm>
            <a:off x="8993169" y="3108508"/>
            <a:ext cx="2697183" cy="3273240"/>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59157680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GB"/>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GB"/>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GB"/>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GB"/>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endParaRPr lang="en-GB" dirty="0"/>
          </a:p>
        </p:txBody>
      </p:sp>
      <p:sp>
        <p:nvSpPr>
          <p:cNvPr id="14" name="Text Placeholder 12"/>
          <p:cNvSpPr>
            <a:spLocks noGrp="1"/>
          </p:cNvSpPr>
          <p:nvPr>
            <p:ph type="body" sz="quarter" idx="33"/>
          </p:nvPr>
        </p:nvSpPr>
        <p:spPr>
          <a:xfrm>
            <a:off x="8396560" y="1845377"/>
            <a:ext cx="3302592"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endParaRPr lang="en-GB" dirty="0"/>
          </a:p>
        </p:txBody>
      </p:sp>
      <p:sp>
        <p:nvSpPr>
          <p:cNvPr id="15" name="Text Placeholder 12"/>
          <p:cNvSpPr>
            <a:spLocks noGrp="1"/>
          </p:cNvSpPr>
          <p:nvPr>
            <p:ph type="body" sz="quarter" idx="34"/>
          </p:nvPr>
        </p:nvSpPr>
        <p:spPr>
          <a:xfrm>
            <a:off x="2683483" y="4256213"/>
            <a:ext cx="3288000"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endParaRPr lang="en-GB" dirty="0"/>
          </a:p>
        </p:txBody>
      </p:sp>
      <p:sp>
        <p:nvSpPr>
          <p:cNvPr id="16" name="Text Placeholder 12"/>
          <p:cNvSpPr>
            <a:spLocks noGrp="1"/>
          </p:cNvSpPr>
          <p:nvPr>
            <p:ph type="body" sz="quarter" idx="35"/>
          </p:nvPr>
        </p:nvSpPr>
        <p:spPr>
          <a:xfrm>
            <a:off x="8396560" y="4256213"/>
            <a:ext cx="3302592"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a:t>Click to edit Master text styles</a:t>
            </a:r>
          </a:p>
          <a:p>
            <a:pPr lvl="1"/>
            <a:r>
              <a:rPr lang="en-GB"/>
              <a:t>Second level</a:t>
            </a:r>
            <a:endParaRPr lang="en-GB" dirty="0"/>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596536943"/>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GB" noProof="0"/>
              <a:t>Click to edit Master title style</a:t>
            </a:r>
            <a:endParaRPr lang="en-GB"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a:t>Click to edit Master text styles</a:t>
            </a:r>
            <a:endParaRPr lang="en-GB" noProof="0" dirty="0"/>
          </a:p>
        </p:txBody>
      </p:sp>
    </p:spTree>
    <p:extLst>
      <p:ext uri="{BB962C8B-B14F-4D97-AF65-F5344CB8AC3E}">
        <p14:creationId xmlns:p14="http://schemas.microsoft.com/office/powerpoint/2010/main" val="3901090828"/>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9" name="Text Placeholder 8"/>
          <p:cNvSpPr>
            <a:spLocks noGrp="1"/>
          </p:cNvSpPr>
          <p:nvPr>
            <p:ph type="body" sz="quarter" idx="21"/>
          </p:nvPr>
        </p:nvSpPr>
        <p:spPr>
          <a:xfrm>
            <a:off x="6246195" y="1857892"/>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a:solidFill>
                  <a:schemeClr val="bg1"/>
                </a:solidFill>
              </a:rPr>
              <a:t>Co-brand</a:t>
            </a:r>
            <a:br>
              <a:rPr lang="en-GB" sz="1200" noProof="0">
                <a:solidFill>
                  <a:schemeClr val="bg1"/>
                </a:solidFill>
              </a:rPr>
            </a:br>
            <a:r>
              <a:rPr lang="en-GB" sz="1200" noProof="0">
                <a:solidFill>
                  <a:schemeClr val="bg1"/>
                </a:solidFill>
              </a:rPr>
              <a:t>Logo</a:t>
            </a:r>
            <a:endParaRPr lang="en-GB" dirty="0"/>
          </a:p>
          <a:p>
            <a:endParaRPr lang="en-GB"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a:solidFill>
                  <a:schemeClr val="bg1"/>
                </a:solidFill>
              </a:rPr>
              <a:t>Co-brand</a:t>
            </a:r>
            <a:br>
              <a:rPr lang="en-GB" sz="1200" noProof="0">
                <a:solidFill>
                  <a:schemeClr val="bg1"/>
                </a:solidFill>
              </a:rPr>
            </a:br>
            <a:r>
              <a:rPr lang="en-GB" sz="1200" noProof="0">
                <a:solidFill>
                  <a:schemeClr val="bg1"/>
                </a:solidFill>
              </a:rPr>
              <a:t>Logo</a:t>
            </a:r>
            <a:endParaRPr lang="en-GB" dirty="0"/>
          </a:p>
          <a:p>
            <a:endParaRPr lang="en-GB" noProof="0" dirty="0"/>
          </a:p>
        </p:txBody>
      </p:sp>
      <p:sp>
        <p:nvSpPr>
          <p:cNvPr id="10" name="Rectangle 9">
            <a:extLst>
              <a:ext uri="{FF2B5EF4-FFF2-40B4-BE49-F238E27FC236}">
                <a16:creationId xmlns:a16="http://schemas.microsoft.com/office/drawing/2014/main" id="{283703CC-2625-4A3C-9057-35BB359C858C}"/>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570267097"/>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8" name="Rectangle 17">
            <a:extLst>
              <a:ext uri="{FF2B5EF4-FFF2-40B4-BE49-F238E27FC236}">
                <a16:creationId xmlns:a16="http://schemas.microsoft.com/office/drawing/2014/main" id="{A32462FA-7D20-4E6B-9335-5F0CC56925D0}"/>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
        <p:nvSpPr>
          <p:cNvPr id="24" name="Text Placeholder 8">
            <a:extLst>
              <a:ext uri="{FF2B5EF4-FFF2-40B4-BE49-F238E27FC236}">
                <a16:creationId xmlns:a16="http://schemas.microsoft.com/office/drawing/2014/main" id="{C0C507E7-B81B-4C48-A5AA-EB2302302973}"/>
              </a:ext>
            </a:extLst>
          </p:cNvPr>
          <p:cNvSpPr>
            <a:spLocks noGrp="1"/>
          </p:cNvSpPr>
          <p:nvPr>
            <p:ph type="body" sz="quarter" idx="17"/>
          </p:nvPr>
        </p:nvSpPr>
        <p:spPr>
          <a:xfrm>
            <a:off x="512874" y="1857892"/>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25" name="Text Placeholder 8">
            <a:extLst>
              <a:ext uri="{FF2B5EF4-FFF2-40B4-BE49-F238E27FC236}">
                <a16:creationId xmlns:a16="http://schemas.microsoft.com/office/drawing/2014/main" id="{A4B9D944-7F4E-42D4-8A84-43402BC40F0D}"/>
              </a:ext>
            </a:extLst>
          </p:cNvPr>
          <p:cNvSpPr>
            <a:spLocks noGrp="1"/>
          </p:cNvSpPr>
          <p:nvPr>
            <p:ph type="body" sz="quarter" idx="21"/>
          </p:nvPr>
        </p:nvSpPr>
        <p:spPr>
          <a:xfrm>
            <a:off x="6246195" y="1857892"/>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26" name="Text Placeholder 8">
            <a:extLst>
              <a:ext uri="{FF2B5EF4-FFF2-40B4-BE49-F238E27FC236}">
                <a16:creationId xmlns:a16="http://schemas.microsoft.com/office/drawing/2014/main" id="{D3B7D15E-E3BF-4AE0-B657-86BF4076BE3E}"/>
              </a:ext>
            </a:extLst>
          </p:cNvPr>
          <p:cNvSpPr>
            <a:spLocks noGrp="1"/>
          </p:cNvSpPr>
          <p:nvPr>
            <p:ph type="body" sz="quarter" idx="26"/>
          </p:nvPr>
        </p:nvSpPr>
        <p:spPr>
          <a:xfrm>
            <a:off x="547075" y="4251853"/>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27" name="Text Placeholder 8">
            <a:extLst>
              <a:ext uri="{FF2B5EF4-FFF2-40B4-BE49-F238E27FC236}">
                <a16:creationId xmlns:a16="http://schemas.microsoft.com/office/drawing/2014/main" id="{960D4485-EAA8-48B3-931F-31B5CEB3E678}"/>
              </a:ext>
            </a:extLst>
          </p:cNvPr>
          <p:cNvSpPr>
            <a:spLocks noGrp="1"/>
          </p:cNvSpPr>
          <p:nvPr>
            <p:ph type="body" sz="quarter" idx="27"/>
          </p:nvPr>
        </p:nvSpPr>
        <p:spPr>
          <a:xfrm>
            <a:off x="6280396" y="4251853"/>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Tree>
    <p:extLst>
      <p:ext uri="{BB962C8B-B14F-4D97-AF65-F5344CB8AC3E}">
        <p14:creationId xmlns:p14="http://schemas.microsoft.com/office/powerpoint/2010/main" val="2198278118"/>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
        <p:nvSpPr>
          <p:cNvPr id="14" name="Text Placeholder 8">
            <a:extLst>
              <a:ext uri="{FF2B5EF4-FFF2-40B4-BE49-F238E27FC236}">
                <a16:creationId xmlns:a16="http://schemas.microsoft.com/office/drawing/2014/main" id="{68D44A10-A1BE-4B60-89A4-889D08B8B34B}"/>
              </a:ext>
            </a:extLst>
          </p:cNvPr>
          <p:cNvSpPr>
            <a:spLocks noGrp="1"/>
          </p:cNvSpPr>
          <p:nvPr>
            <p:ph type="body" sz="quarter" idx="17"/>
          </p:nvPr>
        </p:nvSpPr>
        <p:spPr>
          <a:xfrm>
            <a:off x="512874" y="1857892"/>
            <a:ext cx="3584464" cy="4265506"/>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5" name="Text Placeholder 8">
            <a:extLst>
              <a:ext uri="{FF2B5EF4-FFF2-40B4-BE49-F238E27FC236}">
                <a16:creationId xmlns:a16="http://schemas.microsoft.com/office/drawing/2014/main" id="{9F52FC78-7A4E-4367-9DA3-28A234B39DF1}"/>
              </a:ext>
            </a:extLst>
          </p:cNvPr>
          <p:cNvSpPr>
            <a:spLocks noGrp="1"/>
          </p:cNvSpPr>
          <p:nvPr>
            <p:ph type="body" sz="quarter" idx="22"/>
          </p:nvPr>
        </p:nvSpPr>
        <p:spPr>
          <a:xfrm>
            <a:off x="4320000" y="1897258"/>
            <a:ext cx="3556117" cy="422614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8" name="Text Placeholder 8">
            <a:extLst>
              <a:ext uri="{FF2B5EF4-FFF2-40B4-BE49-F238E27FC236}">
                <a16:creationId xmlns:a16="http://schemas.microsoft.com/office/drawing/2014/main" id="{2D6B6D6E-986C-4D4B-8630-4EBB5F79C2AC}"/>
              </a:ext>
            </a:extLst>
          </p:cNvPr>
          <p:cNvSpPr>
            <a:spLocks noGrp="1"/>
          </p:cNvSpPr>
          <p:nvPr>
            <p:ph type="body" sz="quarter" idx="23"/>
          </p:nvPr>
        </p:nvSpPr>
        <p:spPr>
          <a:xfrm>
            <a:off x="8177084" y="1897258"/>
            <a:ext cx="3556117" cy="422614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Tree>
    <p:extLst>
      <p:ext uri="{BB962C8B-B14F-4D97-AF65-F5344CB8AC3E}">
        <p14:creationId xmlns:p14="http://schemas.microsoft.com/office/powerpoint/2010/main" val="2804612228"/>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GB" noProof="0"/>
              <a:t>Click icon to add picture</a:t>
            </a:r>
            <a:endParaRPr lang="en-GB" dirty="0"/>
          </a:p>
        </p:txBody>
      </p:sp>
      <p:sp>
        <p:nvSpPr>
          <p:cNvPr id="5" name="Picture Placeholder 7"/>
          <p:cNvSpPr>
            <a:spLocks noGrp="1"/>
          </p:cNvSpPr>
          <p:nvPr>
            <p:ph type="pic" sz="quarter" idx="14"/>
          </p:nvPr>
        </p:nvSpPr>
        <p:spPr>
          <a:xfrm>
            <a:off x="8006398" y="1674087"/>
            <a:ext cx="3683953" cy="1971675"/>
          </a:xfrm>
        </p:spPr>
        <p:txBody>
          <a:bodyPr/>
          <a:lstStyle/>
          <a:p>
            <a:r>
              <a:rPr lang="en-GB" noProof="0"/>
              <a:t>Click icon to add picture</a:t>
            </a:r>
            <a:endParaRPr lang="en-GB" dirty="0"/>
          </a:p>
        </p:txBody>
      </p:sp>
      <p:sp>
        <p:nvSpPr>
          <p:cNvPr id="6" name="Picture Placeholder 7"/>
          <p:cNvSpPr>
            <a:spLocks noGrp="1"/>
          </p:cNvSpPr>
          <p:nvPr>
            <p:ph type="pic" sz="quarter" idx="15"/>
          </p:nvPr>
        </p:nvSpPr>
        <p:spPr>
          <a:xfrm>
            <a:off x="4273075" y="1674087"/>
            <a:ext cx="3657600" cy="1971675"/>
          </a:xfrm>
        </p:spPr>
        <p:txBody>
          <a:bodyPr/>
          <a:lstStyle/>
          <a:p>
            <a:r>
              <a:rPr lang="en-GB" noProof="0"/>
              <a:t>Click icon to add picture</a:t>
            </a:r>
            <a:endParaRPr lang="en-GB"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4063112851"/>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5" name="Text Placeholder 8"/>
          <p:cNvSpPr>
            <a:spLocks noGrp="1"/>
          </p:cNvSpPr>
          <p:nvPr>
            <p:ph type="body" sz="quarter" idx="18"/>
          </p:nvPr>
        </p:nvSpPr>
        <p:spPr>
          <a:xfrm>
            <a:off x="9096836"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6" name="Text Placeholder 8"/>
          <p:cNvSpPr>
            <a:spLocks noGrp="1"/>
          </p:cNvSpPr>
          <p:nvPr>
            <p:ph type="body" sz="quarter" idx="19"/>
          </p:nvPr>
        </p:nvSpPr>
        <p:spPr>
          <a:xfrm>
            <a:off x="3368279"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7" name="Text Placeholder 8"/>
          <p:cNvSpPr>
            <a:spLocks noGrp="1"/>
          </p:cNvSpPr>
          <p:nvPr>
            <p:ph type="body" sz="quarter" idx="20"/>
          </p:nvPr>
        </p:nvSpPr>
        <p:spPr>
          <a:xfrm>
            <a:off x="6232557"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672669642"/>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124714485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egal Text White">
    <p:bg>
      <p:bgPr>
        <a:solidFill>
          <a:schemeClr val="bg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DBE0613-D0C6-405A-ACD6-58EF0477427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grpSp>
      <p:sp>
        <p:nvSpPr>
          <p:cNvPr id="4" name="text" descr="{&quot;templafy&quot;:{&quot;id&quot;:&quot;a258daec-32df-4362-bfc3-5dc005fdde7f&quot;}}" title="UserProfile.LegalEntity.Boilerplate_{{Form.InternalExternal.PptDynamicPrefix}}">
            <a:extLst>
              <a:ext uri="{FF2B5EF4-FFF2-40B4-BE49-F238E27FC236}">
                <a16:creationId xmlns:a16="http://schemas.microsoft.com/office/drawing/2014/main" id="{71490C82-24AA-476D-AA48-45B05331BAF6}"/>
              </a:ext>
            </a:extLst>
          </p:cNvPr>
          <p:cNvSpPr txBox="1"/>
          <p:nvPr userDrawn="1"/>
        </p:nvSpPr>
        <p:spPr>
          <a:xfrm>
            <a:off x="501652" y="1341749"/>
            <a:ext cx="8528936" cy="5040000"/>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GB" sz="900">
                <a:solidFill>
                  <a:schemeClr val="tx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This communication contains general information only, and none of Deloitte Touche Tohmatsu Limited (“DTTL”), its global network of member firms or their related entities (collectively, the “Deloitte organisation”)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
© 2022. Deloitte Limited (as trustee for the Deloitte Trading Trust).</a:t>
            </a:r>
            <a:endParaRPr lang="en-GB" sz="900" dirty="0">
              <a:solidFill>
                <a:schemeClr val="tx1"/>
              </a:solidFill>
            </a:endParaRPr>
          </a:p>
        </p:txBody>
      </p:sp>
    </p:spTree>
    <p:extLst>
      <p:ext uri="{BB962C8B-B14F-4D97-AF65-F5344CB8AC3E}">
        <p14:creationId xmlns:p14="http://schemas.microsoft.com/office/powerpoint/2010/main" val="3834245783"/>
      </p:ext>
    </p:extLst>
  </p:cSld>
  <p:clrMapOvr>
    <a:masterClrMapping/>
  </p:clrMapOvr>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Legal Text Black">
    <p:bg>
      <p:bgPr>
        <a:solidFill>
          <a:schemeClr val="tx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DBE0613-D0C6-405A-ACD6-58EF0477427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8" name="text" descr="{&quot;templafy&quot;:{&quot;id&quot;:&quot;005bb826-0c42-4d8e-beef-930f60088aa6&quot;}}" title="UserProfile.LegalEntity.Boilerplate_{{Form.InternalExternal.PptDynamicPrefix}}">
            <a:extLst>
              <a:ext uri="{FF2B5EF4-FFF2-40B4-BE49-F238E27FC236}">
                <a16:creationId xmlns:a16="http://schemas.microsoft.com/office/drawing/2014/main" id="{428134EC-E3E1-422C-926B-53B2BC3EA4A7}"/>
              </a:ext>
            </a:extLst>
          </p:cNvPr>
          <p:cNvSpPr txBox="1"/>
          <p:nvPr userDrawn="1"/>
        </p:nvSpPr>
        <p:spPr>
          <a:xfrm>
            <a:off x="501652" y="1341749"/>
            <a:ext cx="8528936" cy="5040000"/>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GB" sz="900">
                <a:solidFill>
                  <a:schemeClr val="bg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This communication contains general information only, and none of Deloitte Touche Tohmatsu Limited (“DTTL”), its global network of member firms or their related entities (collectively, the “Deloitte organisation”)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
© 2022. Deloitte Limited (as trustee for the Deloitte Trading Trust).</a:t>
            </a:r>
            <a:endParaRPr lang="en-GB" sz="900" dirty="0">
              <a:solidFill>
                <a:schemeClr val="bg1"/>
              </a:solidFill>
            </a:endParaRPr>
          </a:p>
        </p:txBody>
      </p:sp>
    </p:spTree>
    <p:extLst>
      <p:ext uri="{BB962C8B-B14F-4D97-AF65-F5344CB8AC3E}">
        <p14:creationId xmlns:p14="http://schemas.microsoft.com/office/powerpoint/2010/main" val="416326358"/>
      </p:ext>
    </p:extLst>
  </p:cSld>
  <p:clrMapOvr>
    <a:masterClrMapping/>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GB" noProof="0"/>
              <a:t>Click icon to add picture</a:t>
            </a:r>
            <a:endParaRPr lang="en-GB"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a:t>Click to edit Master title style</a:t>
            </a:r>
            <a:endParaRPr lang="en-GB"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a:t>Click to edit Master text styles</a:t>
            </a:r>
            <a:endParaRPr lang="en-GB" noProof="0" dirty="0"/>
          </a:p>
        </p:txBody>
      </p:sp>
    </p:spTree>
    <p:extLst>
      <p:ext uri="{BB962C8B-B14F-4D97-AF65-F5344CB8AC3E}">
        <p14:creationId xmlns:p14="http://schemas.microsoft.com/office/powerpoint/2010/main" val="1495924665"/>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GB" noProof="0" dirty="0"/>
              <a:t>Click icon to add picture</a:t>
            </a:r>
            <a:endParaRPr lang="en-GB"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dirty="0"/>
              <a:t>Click to edit Master title style</a:t>
            </a:r>
            <a:endParaRPr lang="en-GB"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dirty="0"/>
          </a:p>
        </p:txBody>
      </p:sp>
    </p:spTree>
    <p:extLst>
      <p:ext uri="{BB962C8B-B14F-4D97-AF65-F5344CB8AC3E}">
        <p14:creationId xmlns:p14="http://schemas.microsoft.com/office/powerpoint/2010/main" val="2316016089"/>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a:t>Click to edit Master text styles</a:t>
            </a:r>
            <a:endParaRPr lang="en-GB" noProof="0" dirty="0"/>
          </a:p>
        </p:txBody>
      </p:sp>
    </p:spTree>
    <p:extLst>
      <p:ext uri="{BB962C8B-B14F-4D97-AF65-F5344CB8AC3E}">
        <p14:creationId xmlns:p14="http://schemas.microsoft.com/office/powerpoint/2010/main" val="240165318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GB" noProof="0" dirty="0"/>
              <a:t>Click icon to add picture</a:t>
            </a:r>
            <a:endParaRPr lang="en-GB" dirty="0"/>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dirty="0"/>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dirty="0"/>
              <a:t>Click to edit Master title style</a:t>
            </a:r>
            <a:endParaRPr lang="en-GB" dirty="0"/>
          </a:p>
        </p:txBody>
      </p:sp>
      <p:grpSp>
        <p:nvGrpSpPr>
          <p:cNvPr id="6" name="Group 5">
            <a:extLst>
              <a:ext uri="{FF2B5EF4-FFF2-40B4-BE49-F238E27FC236}">
                <a16:creationId xmlns:a16="http://schemas.microsoft.com/office/drawing/2014/main" id="{4DC58949-8DE8-6F4B-A58A-5B16CB0C749C}"/>
              </a:ext>
            </a:extLst>
          </p:cNvPr>
          <p:cNvGrpSpPr>
            <a:grpSpLocks noChangeAspect="1"/>
          </p:cNvGrpSpPr>
          <p:nvPr userDrawn="1"/>
        </p:nvGrpSpPr>
        <p:grpSpPr>
          <a:xfrm>
            <a:off x="475325" y="457200"/>
            <a:ext cx="1998000" cy="374400"/>
            <a:chOff x="398463" y="404813"/>
            <a:chExt cx="1627187" cy="307976"/>
          </a:xfrm>
          <a:solidFill>
            <a:schemeClr val="bg1"/>
          </a:solidFill>
        </p:grpSpPr>
        <p:sp>
          <p:nvSpPr>
            <p:cNvPr id="7" name="Oval 5">
              <a:extLst>
                <a:ext uri="{FF2B5EF4-FFF2-40B4-BE49-F238E27FC236}">
                  <a16:creationId xmlns:a16="http://schemas.microsoft.com/office/drawing/2014/main" id="{DD3BBDE7-EA41-D740-B7CE-2B1345F6436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8" name="Freeform 6">
              <a:extLst>
                <a:ext uri="{FF2B5EF4-FFF2-40B4-BE49-F238E27FC236}">
                  <a16:creationId xmlns:a16="http://schemas.microsoft.com/office/drawing/2014/main" id="{D663BACF-403E-0D49-9CA4-45CCE410C0C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9" name="Rectangle 7">
              <a:extLst>
                <a:ext uri="{FF2B5EF4-FFF2-40B4-BE49-F238E27FC236}">
                  <a16:creationId xmlns:a16="http://schemas.microsoft.com/office/drawing/2014/main" id="{CE97F996-6C92-A64E-BC05-6795993A3BD5}"/>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0" name="Freeform 8">
              <a:extLst>
                <a:ext uri="{FF2B5EF4-FFF2-40B4-BE49-F238E27FC236}">
                  <a16:creationId xmlns:a16="http://schemas.microsoft.com/office/drawing/2014/main" id="{798DEFE3-EE76-B44F-81AD-41A4123E057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1" name="Rectangle 9">
              <a:extLst>
                <a:ext uri="{FF2B5EF4-FFF2-40B4-BE49-F238E27FC236}">
                  <a16:creationId xmlns:a16="http://schemas.microsoft.com/office/drawing/2014/main" id="{EC6228E0-FE1D-404B-ADF7-61BAAE68666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2" name="Rectangle 10">
              <a:extLst>
                <a:ext uri="{FF2B5EF4-FFF2-40B4-BE49-F238E27FC236}">
                  <a16:creationId xmlns:a16="http://schemas.microsoft.com/office/drawing/2014/main" id="{3163F31B-8A7B-704A-B588-907BBAA7F6D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3" name="Freeform 11">
              <a:extLst>
                <a:ext uri="{FF2B5EF4-FFF2-40B4-BE49-F238E27FC236}">
                  <a16:creationId xmlns:a16="http://schemas.microsoft.com/office/drawing/2014/main" id="{B76B40D2-9B0E-C245-8CC6-955C3146A34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4" name="Freeform 12">
              <a:extLst>
                <a:ext uri="{FF2B5EF4-FFF2-40B4-BE49-F238E27FC236}">
                  <a16:creationId xmlns:a16="http://schemas.microsoft.com/office/drawing/2014/main" id="{108CCBC3-453B-6A46-BFF1-434E3F448FD6}"/>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5" name="Freeform 13">
              <a:extLst>
                <a:ext uri="{FF2B5EF4-FFF2-40B4-BE49-F238E27FC236}">
                  <a16:creationId xmlns:a16="http://schemas.microsoft.com/office/drawing/2014/main" id="{BDAF9A0D-B93D-DB4C-9B8A-6043F141750E}"/>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Freeform 14">
              <a:extLst>
                <a:ext uri="{FF2B5EF4-FFF2-40B4-BE49-F238E27FC236}">
                  <a16:creationId xmlns:a16="http://schemas.microsoft.com/office/drawing/2014/main" id="{37EDEEA1-0528-6B48-B014-FCDDE7EB10B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734638300"/>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ith text">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2" name="Title 1">
            <a:extLst>
              <a:ext uri="{FF2B5EF4-FFF2-40B4-BE49-F238E27FC236}">
                <a16:creationId xmlns:a16="http://schemas.microsoft.com/office/drawing/2014/main" id="{B345DB50-CB94-4421-9E14-33DABF973475}"/>
              </a:ext>
            </a:extLst>
          </p:cNvPr>
          <p:cNvSpPr>
            <a:spLocks noGrp="1"/>
          </p:cNvSpPr>
          <p:nvPr>
            <p:ph type="ctrTitle" hasCustomPrompt="1"/>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tx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dirty="0"/>
              <a:t>Click to </a:t>
            </a:r>
            <a:r>
              <a:rPr lang="en-GB" noProof="0"/>
              <a:t>edit </a:t>
            </a:r>
            <a:br>
              <a:rPr lang="en-GB" noProof="0"/>
            </a:br>
            <a:r>
              <a:rPr lang="en-GB" noProof="0"/>
              <a:t>Master </a:t>
            </a:r>
            <a:r>
              <a:rPr lang="en-GB" noProof="0" dirty="0"/>
              <a:t>title style</a:t>
            </a:r>
            <a:endParaRPr lang="en-GB"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dirty="0"/>
          </a:p>
        </p:txBody>
      </p:sp>
      <p:sp>
        <p:nvSpPr>
          <p:cNvPr id="28" name="Title 1">
            <a:extLst>
              <a:ext uri="{FF2B5EF4-FFF2-40B4-BE49-F238E27FC236}">
                <a16:creationId xmlns:a16="http://schemas.microsoft.com/office/drawing/2014/main" id="{BF939DF8-C67D-4ED5-9DBC-98F2B43BDAEA}"/>
              </a:ext>
            </a:extLst>
          </p:cNvPr>
          <p:cNvSpPr txBox="1">
            <a:spLocks/>
          </p:cNvSpPr>
          <p:nvPr userDrawn="1"/>
        </p:nvSpPr>
        <p:spPr bwMode="gray">
          <a:xfrm>
            <a:off x="3417931" y="725455"/>
            <a:ext cx="5356735" cy="5356735"/>
          </a:xfrm>
          <a:prstGeom prst="ellipse">
            <a:avLst/>
          </a:prstGeom>
          <a:ln w="25400">
            <a:solidFill>
              <a:schemeClr val="accent1"/>
            </a:solidFill>
          </a:ln>
        </p:spPr>
        <p:txBody>
          <a:bodyPr vert="horz" lIns="108000" tIns="108000" rIns="108000" bIns="108000" rtlCol="0" anchor="ctr" anchorCtr="0">
            <a:normAutofit/>
          </a:bodyPr>
          <a:lstStyle>
            <a:lvl1pPr algn="ctr" defTabSz="914400" rtl="0" eaLnBrk="1" latinLnBrk="0" hangingPunct="1">
              <a:lnSpc>
                <a:spcPts val="4200"/>
              </a:lnSpc>
              <a:spcBef>
                <a:spcPct val="0"/>
              </a:spcBef>
              <a:buNone/>
              <a:defRPr sz="3600" b="0" kern="1200">
                <a:solidFill>
                  <a:schemeClr val="tx1"/>
                </a:solidFill>
                <a:latin typeface="+mj-lt"/>
                <a:ea typeface="Open Sans" panose="020B0606030504020204" pitchFamily="34" charset="0"/>
                <a:cs typeface="Open Sans" panose="020B0606030504020204" pitchFamily="34" charset="0"/>
              </a:defRPr>
            </a:lvl1pPr>
          </a:lstStyle>
          <a:p>
            <a:r>
              <a:rPr lang="en-GB" dirty="0"/>
              <a:t>Click to edit Master title style</a:t>
            </a:r>
          </a:p>
        </p:txBody>
      </p:sp>
    </p:spTree>
    <p:extLst>
      <p:ext uri="{BB962C8B-B14F-4D97-AF65-F5344CB8AC3E}">
        <p14:creationId xmlns:p14="http://schemas.microsoft.com/office/powerpoint/2010/main" val="3653443447"/>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GB" noProof="0" dirty="0"/>
              <a:t>Click to edit Master title style</a:t>
            </a:r>
            <a:endParaRPr lang="en-GB"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noProof="0" dirty="0"/>
              <a:t>Click to edit Master text styles</a:t>
            </a:r>
            <a:endParaRPr lang="en-GB" dirty="0"/>
          </a:p>
        </p:txBody>
      </p:sp>
    </p:spTree>
    <p:extLst>
      <p:ext uri="{BB962C8B-B14F-4D97-AF65-F5344CB8AC3E}">
        <p14:creationId xmlns:p14="http://schemas.microsoft.com/office/powerpoint/2010/main" val="1926545935"/>
      </p:ext>
    </p:extLst>
  </p:cSld>
  <p:clrMapOvr>
    <a:masterClrMapping/>
  </p:clrMapOvr>
  <p:transition>
    <p:fade/>
  </p:transition>
  <p:extLst>
    <p:ext uri="{DCECCB84-F9BA-43D5-87BE-67443E8EF086}">
      <p15:sldGuideLst xmlns:p15="http://schemas.microsoft.com/office/powerpoint/2012/main">
        <p15:guide id="1" orient="horz" pos="2160" userDrawn="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GB" noProof="0" dirty="0"/>
              <a:t>Click to edit Master text styles</a:t>
            </a:r>
            <a:endParaRPr lang="en-GB" dirty="0"/>
          </a:p>
        </p:txBody>
      </p:sp>
    </p:spTree>
    <p:extLst>
      <p:ext uri="{BB962C8B-B14F-4D97-AF65-F5344CB8AC3E}">
        <p14:creationId xmlns:p14="http://schemas.microsoft.com/office/powerpoint/2010/main" val="89473630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GB" dirty="0"/>
              <a:t>Click icon to add chart</a:t>
            </a:r>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GB" noProof="0" dirty="0"/>
              <a:t>Click to edit Master text styles</a:t>
            </a:r>
            <a:endParaRPr lang="en-GB" dirty="0"/>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GB" dirty="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308274497"/>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GB"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dirty="0"/>
              <a:t>Click to add title</a:t>
            </a:r>
          </a:p>
        </p:txBody>
      </p:sp>
    </p:spTree>
    <p:extLst>
      <p:ext uri="{BB962C8B-B14F-4D97-AF65-F5344CB8AC3E}">
        <p14:creationId xmlns:p14="http://schemas.microsoft.com/office/powerpoint/2010/main" val="834831026"/>
      </p:ext>
    </p:extLst>
  </p:cSld>
  <p:clrMapOvr>
    <a:masterClrMapping/>
  </p:clrMapOvr>
  <p:transition>
    <p:fade/>
  </p:transition>
  <p:hf hdr="0" dt="0"/>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j-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dirty="0"/>
              <a:t>Click to add title</a:t>
            </a:r>
          </a:p>
        </p:txBody>
      </p:sp>
    </p:spTree>
    <p:extLst>
      <p:ext uri="{BB962C8B-B14F-4D97-AF65-F5344CB8AC3E}">
        <p14:creationId xmlns:p14="http://schemas.microsoft.com/office/powerpoint/2010/main" val="1424817553"/>
      </p:ext>
    </p:extLst>
  </p:cSld>
  <p:clrMapOvr>
    <a:masterClrMapping/>
  </p:clrMapOvr>
  <p:transition>
    <p:fade/>
  </p:transition>
  <p:hf hdr="0" dt="0"/>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GB" dirty="0"/>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GB" dirty="0"/>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GB" noProof="0" dirty="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20" name="Group 19">
            <a:extLst>
              <a:ext uri="{FF2B5EF4-FFF2-40B4-BE49-F238E27FC236}">
                <a16:creationId xmlns:a16="http://schemas.microsoft.com/office/drawing/2014/main" id="{A475D951-68C7-4A6F-ADC6-AB9C10E42F07}"/>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0549B55-8335-4CC4-9417-E768B8E137D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0C08EAE3-1065-497F-B8AA-86005E1B7A6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966AA8D-FE19-49A0-B249-C78D2E85CC9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2289C80D-1FA5-42CC-A523-8259B7FD08F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6261A9E2-F698-4343-96EA-AA0015AC51B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D1108B0-A2B5-43FD-8CC1-CC36168B903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AFA473B9-98DD-4132-83C3-26DCC5D0CC8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E1286E94-0A74-4D64-8FE5-E2FC7038DCB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DB23453-5417-4773-B5E0-516CE48D969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2DF2930F-8858-4645-96D1-C2224669578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912761311"/>
      </p:ext>
    </p:extLst>
  </p:cSld>
  <p:clrMapOvr>
    <a:masterClrMapping/>
  </p:clrMapOvr>
  <p:transition>
    <p:fade/>
  </p:transition>
  <p:hf hdr="0" dt="0"/>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GB" noProof="0" dirty="0"/>
              <a:t>Click to add title</a:t>
            </a:r>
            <a:endParaRPr lang="en-GB" dirty="0"/>
          </a:p>
        </p:txBody>
      </p:sp>
      <p:sp>
        <p:nvSpPr>
          <p:cNvPr id="5" name="Picture Placeholder 9"/>
          <p:cNvSpPr>
            <a:spLocks noGrp="1"/>
          </p:cNvSpPr>
          <p:nvPr>
            <p:ph type="pic" sz="quarter" idx="15"/>
          </p:nvPr>
        </p:nvSpPr>
        <p:spPr>
          <a:xfrm>
            <a:off x="5450351" y="1665288"/>
            <a:ext cx="6240000" cy="4716463"/>
          </a:xfrm>
        </p:spPr>
        <p:txBody>
          <a:bodyPr>
            <a:noAutofit/>
          </a:bodyPr>
          <a:lstStyle/>
          <a:p>
            <a:r>
              <a:rPr lang="en-GB" noProof="0" dirty="0"/>
              <a:t>Click icon to add picture</a:t>
            </a:r>
            <a:endParaRPr lang="en-GB" dirty="0"/>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Tree>
    <p:extLst>
      <p:ext uri="{BB962C8B-B14F-4D97-AF65-F5344CB8AC3E}">
        <p14:creationId xmlns:p14="http://schemas.microsoft.com/office/powerpoint/2010/main" val="1489683420"/>
      </p:ext>
    </p:extLst>
  </p:cSld>
  <p:clrMapOvr>
    <a:masterClrMapping/>
  </p:clrMapOvr>
  <p:transition>
    <p:fade/>
  </p:transition>
  <p:hf hdr="0" dt="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20828374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GB"/>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GB" noProof="0"/>
              <a:t>Click to edit Master text styles</a:t>
            </a:r>
            <a:endParaRPr lang="en-GB" noProof="0" dirty="0"/>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GB"/>
              <a:t>Click to edit Master text styles</a:t>
            </a:r>
            <a:endParaRPr lang="en-GB" dirty="0"/>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577809610"/>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633729662"/>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GB" noProof="0" dirty="0"/>
              <a:t>Click icon to add chart</a:t>
            </a:r>
            <a:endParaRPr lang="en-GB" dirty="0"/>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GB" noProof="0" dirty="0"/>
              <a:t>Click to edit Master text styles</a:t>
            </a:r>
            <a:endParaRPr lang="en-GB" dirty="0"/>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GB" dirty="0"/>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888979980"/>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GB" dirty="0"/>
              <a:t>Click icon to add chart</a:t>
            </a:r>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GB" noProof="0" dirty="0"/>
              <a:t>Click to edit Master text styles</a:t>
            </a:r>
            <a:endParaRPr lang="en-GB" dirty="0"/>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GB" dirty="0"/>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GB" dirty="0"/>
              <a:t>Click icon to add chart</a:t>
            </a:r>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GB" noProof="0" dirty="0"/>
              <a:t>Click to edit Master text styles</a:t>
            </a:r>
            <a:endParaRPr lang="en-GB" dirty="0"/>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108048615"/>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93206309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endParaRPr lang="en-GB" dirty="0"/>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765388755"/>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GB" noProof="0" dirty="0"/>
              <a:t>Click icon to add chart</a:t>
            </a:r>
            <a:endParaRPr lang="en-GB" dirty="0"/>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GB" noProof="0" dirty="0"/>
              <a:t>Click to edit Master text styles</a:t>
            </a:r>
            <a:endParaRPr lang="en-GB" dirty="0"/>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GB" noProof="0" dirty="0"/>
              <a:t>Click icon to add chart</a:t>
            </a:r>
            <a:endParaRPr lang="en-GB" dirty="0"/>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GB" noProof="0" dirty="0"/>
              <a:t>Click to edit Master text styles</a:t>
            </a:r>
            <a:endParaRPr lang="en-GB" dirty="0"/>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GB" noProof="0" dirty="0"/>
              <a:t>Click icon to add chart</a:t>
            </a:r>
            <a:endParaRPr lang="en-GB" dirty="0"/>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GB" noProof="0" dirty="0"/>
              <a:t>Click to edit Master text styles</a:t>
            </a:r>
            <a:endParaRPr lang="en-GB" dirty="0"/>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GB" noProof="0" dirty="0"/>
              <a:t>Click to edit Master text styles</a:t>
            </a:r>
            <a:endParaRPr lang="en-GB" dirty="0"/>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520898120"/>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GB" noProof="0" dirty="0"/>
              <a:t>Click icon to add picture</a:t>
            </a:r>
            <a:endParaRPr lang="en-GB"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GB" noProof="0" dirty="0"/>
              <a:t>Click icon to add picture</a:t>
            </a:r>
            <a:endParaRPr lang="en-GB"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GB" noProof="0" dirty="0"/>
              <a:t>Click icon to add picture</a:t>
            </a:r>
            <a:endParaRPr lang="en-GB"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GB" noProof="0" dirty="0"/>
              <a:t>Click icon to add picture</a:t>
            </a:r>
            <a:endParaRPr lang="en-GB" dirty="0"/>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117539842"/>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GB" dirty="0"/>
              <a:t>Click icon to add picture</a:t>
            </a:r>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GB"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GB"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GB" dirty="0"/>
              <a:t>Click icon to add picture</a:t>
            </a:r>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dirty="0"/>
              <a:t>Click to edit Master text styles</a:t>
            </a:r>
          </a:p>
          <a:p>
            <a:pPr lvl="1"/>
            <a:r>
              <a:rPr lang="en-GB" dirty="0"/>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dirty="0"/>
              <a:t>Click to edit Master text styles</a:t>
            </a:r>
          </a:p>
          <a:p>
            <a:pPr lvl="1"/>
            <a:r>
              <a:rPr lang="en-GB" dirty="0"/>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dirty="0"/>
              <a:t>Click to edit Master text styles</a:t>
            </a:r>
          </a:p>
          <a:p>
            <a:pPr lvl="1"/>
            <a:r>
              <a:rPr lang="en-GB" dirty="0"/>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dirty="0"/>
              <a:t>Click to edit Master text styles</a:t>
            </a:r>
          </a:p>
          <a:p>
            <a:pPr lvl="1"/>
            <a:r>
              <a:rPr lang="en-GB" dirty="0"/>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
        <p:nvSpPr>
          <p:cNvPr id="24" name="Rectangle 23">
            <a:extLst>
              <a:ext uri="{FF2B5EF4-FFF2-40B4-BE49-F238E27FC236}">
                <a16:creationId xmlns:a16="http://schemas.microsoft.com/office/drawing/2014/main" id="{56C776D0-A1AC-41AD-A930-68E62E311F28}"/>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5" name="Rectangle 24">
            <a:extLst>
              <a:ext uri="{FF2B5EF4-FFF2-40B4-BE49-F238E27FC236}">
                <a16:creationId xmlns:a16="http://schemas.microsoft.com/office/drawing/2014/main" id="{8676016B-595B-4B09-8A9C-981F4092254D}"/>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6" name="Rectangle 25">
            <a:extLst>
              <a:ext uri="{FF2B5EF4-FFF2-40B4-BE49-F238E27FC236}">
                <a16:creationId xmlns:a16="http://schemas.microsoft.com/office/drawing/2014/main" id="{E8772A29-A091-45EF-9E05-7D38B8B671A6}"/>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7" name="Rectangle 26">
            <a:extLst>
              <a:ext uri="{FF2B5EF4-FFF2-40B4-BE49-F238E27FC236}">
                <a16:creationId xmlns:a16="http://schemas.microsoft.com/office/drawing/2014/main" id="{331A621E-F4F0-40C4-8952-5BF179427ED7}"/>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Tree>
    <p:extLst>
      <p:ext uri="{BB962C8B-B14F-4D97-AF65-F5344CB8AC3E}">
        <p14:creationId xmlns:p14="http://schemas.microsoft.com/office/powerpoint/2010/main" val="3455775912"/>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a:solidFill>
                  <a:schemeClr val="bg1"/>
                </a:solidFill>
              </a:rPr>
              <a:t>Co-brand</a:t>
            </a:r>
            <a:br>
              <a:rPr lang="en-GB" sz="1200" noProof="0">
                <a:solidFill>
                  <a:schemeClr val="bg1"/>
                </a:solidFill>
              </a:rPr>
            </a:br>
            <a:r>
              <a:rPr lang="en-GB" sz="1200" noProof="0">
                <a:solidFill>
                  <a:schemeClr val="bg1"/>
                </a:solidFill>
              </a:rPr>
              <a:t>Logo</a:t>
            </a:r>
            <a:endParaRPr lang="en-GB" dirty="0"/>
          </a:p>
          <a:p>
            <a:endParaRPr lang="en-GB"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a:solidFill>
                  <a:schemeClr val="bg1"/>
                </a:solidFill>
              </a:rPr>
              <a:t>Co-brand</a:t>
            </a:r>
            <a:br>
              <a:rPr lang="en-GB" sz="1200" noProof="0">
                <a:solidFill>
                  <a:schemeClr val="bg1"/>
                </a:solidFill>
              </a:rPr>
            </a:br>
            <a:r>
              <a:rPr lang="en-GB" sz="1200" noProof="0">
                <a:solidFill>
                  <a:schemeClr val="bg1"/>
                </a:solidFill>
              </a:rPr>
              <a:t>Logo</a:t>
            </a:r>
            <a:endParaRPr lang="en-GB" dirty="0"/>
          </a:p>
          <a:p>
            <a:endParaRPr lang="en-GB"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
        <p:nvSpPr>
          <p:cNvPr id="14" name="Rectangle 13">
            <a:extLst>
              <a:ext uri="{FF2B5EF4-FFF2-40B4-BE49-F238E27FC236}">
                <a16:creationId xmlns:a16="http://schemas.microsoft.com/office/drawing/2014/main" id="{D360E003-ECB4-492B-8A94-28433C076FF8}"/>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5" name="Rectangle 14">
            <a:extLst>
              <a:ext uri="{FF2B5EF4-FFF2-40B4-BE49-F238E27FC236}">
                <a16:creationId xmlns:a16="http://schemas.microsoft.com/office/drawing/2014/main" id="{2D54539A-8172-4D14-BE07-3622A53C73DF}"/>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Tree>
    <p:extLst>
      <p:ext uri="{BB962C8B-B14F-4D97-AF65-F5344CB8AC3E}">
        <p14:creationId xmlns:p14="http://schemas.microsoft.com/office/powerpoint/2010/main" val="3256884098"/>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Tree>
    <p:extLst>
      <p:ext uri="{BB962C8B-B14F-4D97-AF65-F5344CB8AC3E}">
        <p14:creationId xmlns:p14="http://schemas.microsoft.com/office/powerpoint/2010/main" val="62100989"/>
      </p:ext>
    </p:extLst>
  </p:cSld>
  <p:clrMapOvr>
    <a:masterClrMapping/>
  </p:clrMapOvr>
  <p:transition>
    <p:fade/>
  </p:transition>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dirty="0"/>
              <a:t>Click to add title</a:t>
            </a:r>
          </a:p>
        </p:txBody>
      </p:sp>
    </p:spTree>
    <p:extLst>
      <p:ext uri="{BB962C8B-B14F-4D97-AF65-F5344CB8AC3E}">
        <p14:creationId xmlns:p14="http://schemas.microsoft.com/office/powerpoint/2010/main" val="866028850"/>
      </p:ext>
    </p:extLst>
  </p:cSld>
  <p:clrMapOvr>
    <a:masterClrMapping/>
  </p:clrMapOvr>
  <p:transition>
    <p:fade/>
  </p:transition>
  <p:hf hdr="0" dt="0"/>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Tree>
    <p:extLst>
      <p:ext uri="{BB962C8B-B14F-4D97-AF65-F5344CB8AC3E}">
        <p14:creationId xmlns:p14="http://schemas.microsoft.com/office/powerpoint/2010/main" val="2894475478"/>
      </p:ext>
    </p:extLst>
  </p:cSld>
  <p:clrMapOvr>
    <a:masterClrMapping/>
  </p:clrMapOvr>
  <p:transition>
    <p:fade/>
  </p:transition>
  <p:hf hdr="0" dt="0"/>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GB" noProof="0" dirty="0"/>
              <a:t>Click icon to add picture</a:t>
            </a:r>
            <a:endParaRPr lang="en-GB" dirty="0"/>
          </a:p>
        </p:txBody>
      </p:sp>
      <p:sp>
        <p:nvSpPr>
          <p:cNvPr id="5" name="Picture Placeholder 7"/>
          <p:cNvSpPr>
            <a:spLocks noGrp="1"/>
          </p:cNvSpPr>
          <p:nvPr>
            <p:ph type="pic" sz="quarter" idx="14"/>
          </p:nvPr>
        </p:nvSpPr>
        <p:spPr>
          <a:xfrm>
            <a:off x="8006398" y="1674087"/>
            <a:ext cx="3683953" cy="1971675"/>
          </a:xfrm>
        </p:spPr>
        <p:txBody>
          <a:bodyPr/>
          <a:lstStyle/>
          <a:p>
            <a:r>
              <a:rPr lang="en-GB" noProof="0" dirty="0"/>
              <a:t>Click icon to add picture</a:t>
            </a:r>
            <a:endParaRPr lang="en-GB" dirty="0"/>
          </a:p>
        </p:txBody>
      </p:sp>
      <p:sp>
        <p:nvSpPr>
          <p:cNvPr id="6" name="Picture Placeholder 7"/>
          <p:cNvSpPr>
            <a:spLocks noGrp="1"/>
          </p:cNvSpPr>
          <p:nvPr>
            <p:ph type="pic" sz="quarter" idx="15"/>
          </p:nvPr>
        </p:nvSpPr>
        <p:spPr>
          <a:xfrm>
            <a:off x="4273075" y="1674087"/>
            <a:ext cx="3657600" cy="1971675"/>
          </a:xfrm>
        </p:spPr>
        <p:txBody>
          <a:bodyPr/>
          <a:lstStyle/>
          <a:p>
            <a:r>
              <a:rPr lang="en-GB" noProof="0" dirty="0"/>
              <a:t>Click icon to add picture</a:t>
            </a:r>
            <a:endParaRPr lang="en-GB"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725835246"/>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4076119457"/>
      </p:ext>
    </p:extLst>
  </p:cSld>
  <p:clrMapOvr>
    <a:masterClrMapping/>
  </p:clrMapOvr>
  <p:transition>
    <p:fade/>
  </p:transition>
  <p:hf hd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850100552"/>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110782061"/>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573820903"/>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7879524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GB" dirty="0"/>
              <a:t>Click icon to add chart</a:t>
            </a:r>
          </a:p>
        </p:txBody>
      </p:sp>
      <p:sp>
        <p:nvSpPr>
          <p:cNvPr id="18" name="Text Placeholder 8"/>
          <p:cNvSpPr>
            <a:spLocks noGrp="1"/>
          </p:cNvSpPr>
          <p:nvPr>
            <p:ph type="body" sz="quarter" idx="18"/>
          </p:nvPr>
        </p:nvSpPr>
        <p:spPr>
          <a:xfrm>
            <a:off x="501652" y="1674087"/>
            <a:ext cx="11188699" cy="357187"/>
          </a:xfrm>
        </p:spPr>
        <p:txBody>
          <a:bodyPr/>
          <a:lstStyle/>
          <a:p>
            <a:pPr lvl="0"/>
            <a:r>
              <a:rPr lang="en-GB" noProof="0" dirty="0"/>
              <a:t>Click to edit Master text styles</a:t>
            </a:r>
            <a:endParaRPr lang="en-GB" dirty="0"/>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GB" dirty="0"/>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080767558"/>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dirty="0"/>
              <a:t>Click to add title</a:t>
            </a:r>
          </a:p>
        </p:txBody>
      </p:sp>
    </p:spTree>
    <p:extLst>
      <p:ext uri="{BB962C8B-B14F-4D97-AF65-F5344CB8AC3E}">
        <p14:creationId xmlns:p14="http://schemas.microsoft.com/office/powerpoint/2010/main" val="2642028747"/>
      </p:ext>
    </p:extLst>
  </p:cSld>
  <p:clrMapOvr>
    <a:masterClrMapping/>
  </p:clrMapOvr>
  <p:transition>
    <p:fade/>
  </p:transition>
  <p:hf hdr="0" dt="0"/>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13905272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j-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GB" dirty="0"/>
              <a:t>Click to add title</a:t>
            </a:r>
          </a:p>
        </p:txBody>
      </p:sp>
    </p:spTree>
    <p:extLst>
      <p:ext uri="{BB962C8B-B14F-4D97-AF65-F5344CB8AC3E}">
        <p14:creationId xmlns:p14="http://schemas.microsoft.com/office/powerpoint/2010/main" val="1072037334"/>
      </p:ext>
    </p:extLst>
  </p:cSld>
  <p:clrMapOvr>
    <a:masterClrMapping/>
  </p:clrMapOvr>
  <p:transition>
    <p:fade/>
  </p:transition>
  <p:hf hdr="0" dt="0"/>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40841922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3" name="Chart Placeholder 2"/>
          <p:cNvSpPr>
            <a:spLocks noGrp="1"/>
          </p:cNvSpPr>
          <p:nvPr>
            <p:ph type="chart" sz="quarter" idx="21"/>
          </p:nvPr>
        </p:nvSpPr>
        <p:spPr>
          <a:xfrm>
            <a:off x="6341223" y="2125013"/>
            <a:ext cx="5349128" cy="3996000"/>
          </a:xfrm>
        </p:spPr>
        <p:txBody>
          <a:bodyPr/>
          <a:lstStyle/>
          <a:p>
            <a:r>
              <a:rPr lang="en-GB" noProof="0" dirty="0"/>
              <a:t>Click icon to add chart</a:t>
            </a:r>
            <a:endParaRPr lang="en-GB" dirty="0"/>
          </a:p>
        </p:txBody>
      </p:sp>
      <p:sp>
        <p:nvSpPr>
          <p:cNvPr id="6" name="Text Placeholder 5"/>
          <p:cNvSpPr>
            <a:spLocks noGrp="1"/>
          </p:cNvSpPr>
          <p:nvPr>
            <p:ph type="body" sz="quarter" idx="22"/>
          </p:nvPr>
        </p:nvSpPr>
        <p:spPr>
          <a:xfrm>
            <a:off x="6341223" y="1665288"/>
            <a:ext cx="5349128" cy="420687"/>
          </a:xfrm>
        </p:spPr>
        <p:txBody>
          <a:bodyPr/>
          <a:lstStyle/>
          <a:p>
            <a:pPr lvl="0"/>
            <a:r>
              <a:rPr lang="en-GB" noProof="0" dirty="0"/>
              <a:t>Click to edit Master text styles</a:t>
            </a:r>
            <a:endParaRPr lang="en-GB" dirty="0"/>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GB" dirty="0"/>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711334124"/>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GB" dirty="0"/>
              <a:t>Click icon to add chart</a:t>
            </a:r>
          </a:p>
        </p:txBody>
      </p:sp>
      <p:sp>
        <p:nvSpPr>
          <p:cNvPr id="6" name="Text Placeholder 5"/>
          <p:cNvSpPr>
            <a:spLocks noGrp="1"/>
          </p:cNvSpPr>
          <p:nvPr>
            <p:ph type="body" sz="quarter" idx="22"/>
          </p:nvPr>
        </p:nvSpPr>
        <p:spPr>
          <a:xfrm>
            <a:off x="6341222" y="1665288"/>
            <a:ext cx="5349129" cy="420687"/>
          </a:xfrm>
        </p:spPr>
        <p:txBody>
          <a:bodyPr/>
          <a:lstStyle/>
          <a:p>
            <a:pPr lvl="0"/>
            <a:r>
              <a:rPr lang="en-GB" noProof="0" dirty="0"/>
              <a:t>Click to edit Master text styles</a:t>
            </a:r>
            <a:endParaRPr lang="en-GB" dirty="0"/>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GB" dirty="0"/>
              <a:t>Click to edit Master text styles</a:t>
            </a:r>
          </a:p>
        </p:txBody>
      </p:sp>
      <p:sp>
        <p:nvSpPr>
          <p:cNvPr id="9" name="Chart Placeholder 2"/>
          <p:cNvSpPr>
            <a:spLocks noGrp="1"/>
          </p:cNvSpPr>
          <p:nvPr>
            <p:ph type="chart" sz="quarter" idx="24"/>
          </p:nvPr>
        </p:nvSpPr>
        <p:spPr>
          <a:xfrm>
            <a:off x="501650" y="2125013"/>
            <a:ext cx="5349240" cy="3996000"/>
          </a:xfrm>
        </p:spPr>
        <p:txBody>
          <a:bodyPr/>
          <a:lstStyle/>
          <a:p>
            <a:r>
              <a:rPr lang="en-GB" dirty="0"/>
              <a:t>Click icon to add chart</a:t>
            </a:r>
          </a:p>
        </p:txBody>
      </p:sp>
      <p:sp>
        <p:nvSpPr>
          <p:cNvPr id="12" name="Text Placeholder 5"/>
          <p:cNvSpPr>
            <a:spLocks noGrp="1"/>
          </p:cNvSpPr>
          <p:nvPr>
            <p:ph type="body" sz="quarter" idx="25"/>
          </p:nvPr>
        </p:nvSpPr>
        <p:spPr>
          <a:xfrm>
            <a:off x="501649" y="1665288"/>
            <a:ext cx="5349240" cy="420687"/>
          </a:xfrm>
        </p:spPr>
        <p:txBody>
          <a:bodyPr/>
          <a:lstStyle/>
          <a:p>
            <a:pPr lvl="0"/>
            <a:r>
              <a:rPr lang="en-GB" noProof="0" dirty="0"/>
              <a:t>Click to edit Master text styles</a:t>
            </a:r>
            <a:endParaRPr lang="en-GB" dirty="0"/>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199357030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8" name="Content Placeholder 3"/>
          <p:cNvSpPr>
            <a:spLocks noGrp="1"/>
          </p:cNvSpPr>
          <p:nvPr>
            <p:ph sz="quarter" idx="16"/>
          </p:nvPr>
        </p:nvSpPr>
        <p:spPr>
          <a:xfrm>
            <a:off x="5450349" y="1665289"/>
            <a:ext cx="6240000" cy="4716463"/>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1359478855"/>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GB" noProof="0" dirty="0"/>
              <a:t>Click to edit Master text styles</a:t>
            </a:r>
            <a:endParaRPr lang="en-GB" dirty="0"/>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664699580"/>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GB" noProof="0" dirty="0"/>
              <a:t>Click icon to add chart</a:t>
            </a:r>
            <a:endParaRPr lang="en-GB" dirty="0"/>
          </a:p>
        </p:txBody>
      </p:sp>
      <p:sp>
        <p:nvSpPr>
          <p:cNvPr id="18" name="Text Placeholder 8"/>
          <p:cNvSpPr>
            <a:spLocks noGrp="1"/>
          </p:cNvSpPr>
          <p:nvPr>
            <p:ph type="body" sz="quarter" idx="18"/>
          </p:nvPr>
        </p:nvSpPr>
        <p:spPr>
          <a:xfrm>
            <a:off x="501650" y="1659145"/>
            <a:ext cx="3549549" cy="392112"/>
          </a:xfrm>
        </p:spPr>
        <p:txBody>
          <a:bodyPr/>
          <a:lstStyle/>
          <a:p>
            <a:pPr lvl="0"/>
            <a:r>
              <a:rPr lang="en-GB" noProof="0" dirty="0"/>
              <a:t>Click to edit Master text styles</a:t>
            </a:r>
            <a:endParaRPr lang="en-GB" dirty="0"/>
          </a:p>
        </p:txBody>
      </p:sp>
      <p:sp>
        <p:nvSpPr>
          <p:cNvPr id="7" name="Chart Placeholder 3"/>
          <p:cNvSpPr>
            <a:spLocks noGrp="1"/>
          </p:cNvSpPr>
          <p:nvPr>
            <p:ph type="chart" sz="quarter" idx="19"/>
          </p:nvPr>
        </p:nvSpPr>
        <p:spPr>
          <a:xfrm>
            <a:off x="4322401" y="2051999"/>
            <a:ext cx="3549549" cy="4069014"/>
          </a:xfrm>
          <a:prstGeom prst="rect">
            <a:avLst/>
          </a:prstGeom>
        </p:spPr>
        <p:txBody>
          <a:bodyPr/>
          <a:lstStyle/>
          <a:p>
            <a:r>
              <a:rPr lang="en-GB" noProof="0" dirty="0"/>
              <a:t>Click icon to add chart</a:t>
            </a:r>
            <a:endParaRPr lang="en-GB" dirty="0"/>
          </a:p>
        </p:txBody>
      </p:sp>
      <p:sp>
        <p:nvSpPr>
          <p:cNvPr id="8" name="Text Placeholder 8"/>
          <p:cNvSpPr>
            <a:spLocks noGrp="1"/>
          </p:cNvSpPr>
          <p:nvPr>
            <p:ph type="body" sz="quarter" idx="20"/>
          </p:nvPr>
        </p:nvSpPr>
        <p:spPr>
          <a:xfrm>
            <a:off x="4321226" y="1659145"/>
            <a:ext cx="3549549" cy="392112"/>
          </a:xfrm>
        </p:spPr>
        <p:txBody>
          <a:bodyPr/>
          <a:lstStyle/>
          <a:p>
            <a:pPr lvl="0"/>
            <a:r>
              <a:rPr lang="en-GB" noProof="0" dirty="0"/>
              <a:t>Click to edit Master text styles</a:t>
            </a:r>
            <a:endParaRPr lang="en-GB" dirty="0"/>
          </a:p>
        </p:txBody>
      </p:sp>
      <p:sp>
        <p:nvSpPr>
          <p:cNvPr id="9" name="Chart Placeholder 3"/>
          <p:cNvSpPr>
            <a:spLocks noGrp="1"/>
          </p:cNvSpPr>
          <p:nvPr>
            <p:ph type="chart" sz="quarter" idx="21"/>
          </p:nvPr>
        </p:nvSpPr>
        <p:spPr>
          <a:xfrm>
            <a:off x="8140801" y="2051999"/>
            <a:ext cx="3549549" cy="4069014"/>
          </a:xfrm>
          <a:prstGeom prst="rect">
            <a:avLst/>
          </a:prstGeom>
        </p:spPr>
        <p:txBody>
          <a:bodyPr/>
          <a:lstStyle/>
          <a:p>
            <a:r>
              <a:rPr lang="en-GB" noProof="0" dirty="0"/>
              <a:t>Click icon to add chart</a:t>
            </a:r>
            <a:endParaRPr lang="en-GB" dirty="0"/>
          </a:p>
        </p:txBody>
      </p:sp>
      <p:sp>
        <p:nvSpPr>
          <p:cNvPr id="10" name="Text Placeholder 8"/>
          <p:cNvSpPr>
            <a:spLocks noGrp="1"/>
          </p:cNvSpPr>
          <p:nvPr>
            <p:ph type="body" sz="quarter" idx="22"/>
          </p:nvPr>
        </p:nvSpPr>
        <p:spPr>
          <a:xfrm>
            <a:off x="8140801" y="1659145"/>
            <a:ext cx="3549549" cy="398256"/>
          </a:xfrm>
        </p:spPr>
        <p:txBody>
          <a:bodyPr/>
          <a:lstStyle/>
          <a:p>
            <a:pPr lvl="0"/>
            <a:r>
              <a:rPr lang="en-GB" noProof="0" dirty="0"/>
              <a:t>Click to edit Master text styles</a:t>
            </a:r>
            <a:endParaRPr lang="en-GB" dirty="0"/>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GB" noProof="0" dirty="0"/>
              <a:t>Click to edit Master text styles</a:t>
            </a:r>
            <a:endParaRPr lang="en-GB" dirty="0"/>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892701201"/>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GB" noProof="0" dirty="0"/>
              <a:t>Click icon to add picture</a:t>
            </a:r>
            <a:endParaRPr lang="en-GB" dirty="0"/>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GB" noProof="0" dirty="0"/>
              <a:t>Click icon to add picture</a:t>
            </a:r>
            <a:endParaRPr lang="en-GB" dirty="0"/>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GB" noProof="0" dirty="0"/>
              <a:t>Click icon to add picture</a:t>
            </a:r>
            <a:endParaRPr lang="en-GB" dirty="0"/>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GB" noProof="0" dirty="0"/>
              <a:t>Click icon to add picture</a:t>
            </a:r>
            <a:endParaRPr lang="en-GB" dirty="0"/>
          </a:p>
        </p:txBody>
      </p:sp>
      <p:sp>
        <p:nvSpPr>
          <p:cNvPr id="9" name="Text Placeholder 8"/>
          <p:cNvSpPr>
            <a:spLocks noGrp="1"/>
          </p:cNvSpPr>
          <p:nvPr>
            <p:ph type="body" sz="quarter" idx="17"/>
          </p:nvPr>
        </p:nvSpPr>
        <p:spPr>
          <a:xfrm>
            <a:off x="501650" y="3124200"/>
            <a:ext cx="2720468" cy="3257548"/>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0" name="Text Placeholder 8"/>
          <p:cNvSpPr>
            <a:spLocks noGrp="1"/>
          </p:cNvSpPr>
          <p:nvPr>
            <p:ph type="body" sz="quarter" idx="18"/>
          </p:nvPr>
        </p:nvSpPr>
        <p:spPr>
          <a:xfrm>
            <a:off x="6149963" y="3120551"/>
            <a:ext cx="2712000" cy="3261199"/>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1" name="Text Placeholder 8"/>
          <p:cNvSpPr>
            <a:spLocks noGrp="1"/>
          </p:cNvSpPr>
          <p:nvPr>
            <p:ph type="body" sz="quarter" idx="19"/>
          </p:nvPr>
        </p:nvSpPr>
        <p:spPr>
          <a:xfrm>
            <a:off x="3330040" y="3124200"/>
            <a:ext cx="2712000" cy="3257549"/>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2" name="Text Placeholder 8"/>
          <p:cNvSpPr>
            <a:spLocks noGrp="1"/>
          </p:cNvSpPr>
          <p:nvPr>
            <p:ph type="body" sz="quarter" idx="20"/>
          </p:nvPr>
        </p:nvSpPr>
        <p:spPr>
          <a:xfrm>
            <a:off x="8993169" y="3108508"/>
            <a:ext cx="2697183" cy="3273240"/>
          </a:xfrm>
        </p:spPr>
        <p:txBody>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869593162"/>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GB" dirty="0"/>
              <a:t>Click icon to add picture</a:t>
            </a:r>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GB" dirty="0"/>
              <a:t>Click icon to add picture</a:t>
            </a:r>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GB" dirty="0"/>
              <a:t>Click icon to add picture</a:t>
            </a:r>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GB" dirty="0"/>
              <a:t>Click icon to add picture</a:t>
            </a:r>
          </a:p>
        </p:txBody>
      </p:sp>
      <p:sp>
        <p:nvSpPr>
          <p:cNvPr id="13" name="Text Placeholder 12"/>
          <p:cNvSpPr>
            <a:spLocks noGrp="1"/>
          </p:cNvSpPr>
          <p:nvPr>
            <p:ph type="body" sz="quarter" idx="32"/>
          </p:nvPr>
        </p:nvSpPr>
        <p:spPr>
          <a:xfrm>
            <a:off x="2683483" y="1845377"/>
            <a:ext cx="3288000"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dirty="0"/>
              <a:t>Click to edit Master text styles</a:t>
            </a:r>
          </a:p>
          <a:p>
            <a:pPr lvl="1"/>
            <a:r>
              <a:rPr lang="en-GB" dirty="0"/>
              <a:t>Second level</a:t>
            </a:r>
          </a:p>
        </p:txBody>
      </p:sp>
      <p:sp>
        <p:nvSpPr>
          <p:cNvPr id="14" name="Text Placeholder 12"/>
          <p:cNvSpPr>
            <a:spLocks noGrp="1"/>
          </p:cNvSpPr>
          <p:nvPr>
            <p:ph type="body" sz="quarter" idx="33"/>
          </p:nvPr>
        </p:nvSpPr>
        <p:spPr>
          <a:xfrm>
            <a:off x="8396560" y="1845377"/>
            <a:ext cx="3302592"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dirty="0"/>
              <a:t>Click to edit Master text styles</a:t>
            </a:r>
          </a:p>
          <a:p>
            <a:pPr lvl="1"/>
            <a:r>
              <a:rPr lang="en-GB" dirty="0"/>
              <a:t>Second level</a:t>
            </a:r>
          </a:p>
        </p:txBody>
      </p:sp>
      <p:sp>
        <p:nvSpPr>
          <p:cNvPr id="15" name="Text Placeholder 12"/>
          <p:cNvSpPr>
            <a:spLocks noGrp="1"/>
          </p:cNvSpPr>
          <p:nvPr>
            <p:ph type="body" sz="quarter" idx="34"/>
          </p:nvPr>
        </p:nvSpPr>
        <p:spPr>
          <a:xfrm>
            <a:off x="2683483" y="4256213"/>
            <a:ext cx="3288000"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dirty="0"/>
              <a:t>Click to edit Master text styles</a:t>
            </a:r>
          </a:p>
          <a:p>
            <a:pPr lvl="1"/>
            <a:r>
              <a:rPr lang="en-GB" dirty="0"/>
              <a:t>Second level</a:t>
            </a:r>
          </a:p>
        </p:txBody>
      </p:sp>
      <p:sp>
        <p:nvSpPr>
          <p:cNvPr id="16" name="Text Placeholder 12"/>
          <p:cNvSpPr>
            <a:spLocks noGrp="1"/>
          </p:cNvSpPr>
          <p:nvPr>
            <p:ph type="body" sz="quarter" idx="35"/>
          </p:nvPr>
        </p:nvSpPr>
        <p:spPr>
          <a:xfrm>
            <a:off x="8396560" y="4256213"/>
            <a:ext cx="3302592" cy="1944000"/>
          </a:xfrm>
        </p:spPr>
        <p:txBody>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GB" dirty="0"/>
              <a:t>Click to edit Master text styles</a:t>
            </a:r>
          </a:p>
          <a:p>
            <a:pPr lvl="1"/>
            <a:r>
              <a:rPr lang="en-GB" dirty="0"/>
              <a:t>Second level</a:t>
            </a:r>
          </a:p>
        </p:txBody>
      </p:sp>
      <p:sp>
        <p:nvSpPr>
          <p:cNvPr id="18" name="Rectangle 17">
            <a:extLst>
              <a:ext uri="{FF2B5EF4-FFF2-40B4-BE49-F238E27FC236}">
                <a16:creationId xmlns:a16="http://schemas.microsoft.com/office/drawing/2014/main" id="{12753468-486C-4E44-B97B-3442F4990D23}"/>
              </a:ext>
            </a:extLst>
          </p:cNvPr>
          <p:cNvSpPr/>
          <p:nvPr userDrawn="1"/>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userDrawn="1"/>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3225656798"/>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9" name="Text Placeholder 8"/>
          <p:cNvSpPr>
            <a:spLocks noGrp="1"/>
          </p:cNvSpPr>
          <p:nvPr>
            <p:ph type="body" sz="quarter" idx="21"/>
          </p:nvPr>
        </p:nvSpPr>
        <p:spPr>
          <a:xfrm>
            <a:off x="6246195" y="1857892"/>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noProof="0" dirty="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a:solidFill>
                  <a:schemeClr val="bg1"/>
                </a:solidFill>
              </a:rPr>
              <a:t>Co-brand</a:t>
            </a:r>
            <a:br>
              <a:rPr lang="en-GB" sz="1200" noProof="0">
                <a:solidFill>
                  <a:schemeClr val="bg1"/>
                </a:solidFill>
              </a:rPr>
            </a:br>
            <a:r>
              <a:rPr lang="en-GB" sz="1200" noProof="0">
                <a:solidFill>
                  <a:schemeClr val="bg1"/>
                </a:solidFill>
              </a:rPr>
              <a:t>Logo</a:t>
            </a:r>
            <a:endParaRPr lang="en-GB" dirty="0"/>
          </a:p>
          <a:p>
            <a:endParaRPr lang="en-GB"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noProof="0">
                <a:solidFill>
                  <a:schemeClr val="bg1"/>
                </a:solidFill>
              </a:rPr>
              <a:t>Co-brand</a:t>
            </a:r>
            <a:br>
              <a:rPr lang="en-GB" sz="1200" noProof="0">
                <a:solidFill>
                  <a:schemeClr val="bg1"/>
                </a:solidFill>
              </a:rPr>
            </a:br>
            <a:r>
              <a:rPr lang="en-GB" sz="1200" noProof="0">
                <a:solidFill>
                  <a:schemeClr val="bg1"/>
                </a:solidFill>
              </a:rPr>
              <a:t>Logo</a:t>
            </a:r>
            <a:endParaRPr lang="en-GB" dirty="0"/>
          </a:p>
          <a:p>
            <a:endParaRPr lang="en-GB" noProof="0" dirty="0"/>
          </a:p>
        </p:txBody>
      </p:sp>
      <p:sp>
        <p:nvSpPr>
          <p:cNvPr id="10" name="Rectangle 9">
            <a:extLst>
              <a:ext uri="{FF2B5EF4-FFF2-40B4-BE49-F238E27FC236}">
                <a16:creationId xmlns:a16="http://schemas.microsoft.com/office/drawing/2014/main" id="{283703CC-2625-4A3C-9057-35BB359C858C}"/>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GB" sz="1467"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6105900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GB" sz="1200">
                <a:solidFill>
                  <a:schemeClr val="bg1"/>
                </a:solidFill>
              </a:rPr>
              <a:t>Co-brand</a:t>
            </a:r>
            <a:br>
              <a:rPr lang="en-GB" sz="1200">
                <a:solidFill>
                  <a:schemeClr val="bg1"/>
                </a:solidFill>
              </a:rPr>
            </a:br>
            <a:r>
              <a:rPr lang="en-GB" sz="1200">
                <a:solidFill>
                  <a:schemeClr val="bg1"/>
                </a:solidFill>
              </a:rPr>
              <a:t>Logo</a:t>
            </a:r>
            <a:endParaRPr lang="en-GB" dirty="0"/>
          </a:p>
          <a:p>
            <a:endParaRPr lang="en-GB" dirty="0"/>
          </a:p>
        </p:txBody>
      </p:sp>
      <p:sp>
        <p:nvSpPr>
          <p:cNvPr id="18" name="Rectangle 17">
            <a:extLst>
              <a:ext uri="{FF2B5EF4-FFF2-40B4-BE49-F238E27FC236}">
                <a16:creationId xmlns:a16="http://schemas.microsoft.com/office/drawing/2014/main" id="{A32462FA-7D20-4E6B-9335-5F0CC56925D0}"/>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GB"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
        <p:nvSpPr>
          <p:cNvPr id="24" name="Text Placeholder 8">
            <a:extLst>
              <a:ext uri="{FF2B5EF4-FFF2-40B4-BE49-F238E27FC236}">
                <a16:creationId xmlns:a16="http://schemas.microsoft.com/office/drawing/2014/main" id="{C0C507E7-B81B-4C48-A5AA-EB2302302973}"/>
              </a:ext>
            </a:extLst>
          </p:cNvPr>
          <p:cNvSpPr>
            <a:spLocks noGrp="1"/>
          </p:cNvSpPr>
          <p:nvPr>
            <p:ph type="body" sz="quarter" idx="17"/>
          </p:nvPr>
        </p:nvSpPr>
        <p:spPr>
          <a:xfrm>
            <a:off x="512874" y="1857892"/>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25" name="Text Placeholder 8">
            <a:extLst>
              <a:ext uri="{FF2B5EF4-FFF2-40B4-BE49-F238E27FC236}">
                <a16:creationId xmlns:a16="http://schemas.microsoft.com/office/drawing/2014/main" id="{A4B9D944-7F4E-42D4-8A84-43402BC40F0D}"/>
              </a:ext>
            </a:extLst>
          </p:cNvPr>
          <p:cNvSpPr>
            <a:spLocks noGrp="1"/>
          </p:cNvSpPr>
          <p:nvPr>
            <p:ph type="body" sz="quarter" idx="21"/>
          </p:nvPr>
        </p:nvSpPr>
        <p:spPr>
          <a:xfrm>
            <a:off x="6246195" y="1857892"/>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26" name="Text Placeholder 8">
            <a:extLst>
              <a:ext uri="{FF2B5EF4-FFF2-40B4-BE49-F238E27FC236}">
                <a16:creationId xmlns:a16="http://schemas.microsoft.com/office/drawing/2014/main" id="{D3B7D15E-E3BF-4AE0-B657-86BF4076BE3E}"/>
              </a:ext>
            </a:extLst>
          </p:cNvPr>
          <p:cNvSpPr>
            <a:spLocks noGrp="1"/>
          </p:cNvSpPr>
          <p:nvPr>
            <p:ph type="body" sz="quarter" idx="26"/>
          </p:nvPr>
        </p:nvSpPr>
        <p:spPr>
          <a:xfrm>
            <a:off x="547075" y="4251853"/>
            <a:ext cx="5466824"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27" name="Text Placeholder 8">
            <a:extLst>
              <a:ext uri="{FF2B5EF4-FFF2-40B4-BE49-F238E27FC236}">
                <a16:creationId xmlns:a16="http://schemas.microsoft.com/office/drawing/2014/main" id="{960D4485-EAA8-48B3-931F-31B5CEB3E678}"/>
              </a:ext>
            </a:extLst>
          </p:cNvPr>
          <p:cNvSpPr>
            <a:spLocks noGrp="1"/>
          </p:cNvSpPr>
          <p:nvPr>
            <p:ph type="body" sz="quarter" idx="27"/>
          </p:nvPr>
        </p:nvSpPr>
        <p:spPr>
          <a:xfrm>
            <a:off x="6280396" y="4251853"/>
            <a:ext cx="5444156" cy="169545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Tree>
    <p:extLst>
      <p:ext uri="{BB962C8B-B14F-4D97-AF65-F5344CB8AC3E}">
        <p14:creationId xmlns:p14="http://schemas.microsoft.com/office/powerpoint/2010/main" val="319029206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GB"/>
              <a:t>Click to edit Master text styles</a:t>
            </a:r>
            <a:endParaRPr lang="en-GB" dirty="0"/>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GB"/>
              <a:t>Click to edit Master text styles</a:t>
            </a:r>
            <a:endParaRPr lang="en-GB" dirty="0"/>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noProof="0" dirty="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grpSp>
        <p:nvGrpSpPr>
          <p:cNvPr id="20" name="Group 19">
            <a:extLst>
              <a:ext uri="{FF2B5EF4-FFF2-40B4-BE49-F238E27FC236}">
                <a16:creationId xmlns:a16="http://schemas.microsoft.com/office/drawing/2014/main" id="{A475D951-68C7-4A6F-ADC6-AB9C10E42F07}"/>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0549B55-8335-4CC4-9417-E768B8E137DA}"/>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0C08EAE3-1065-497F-B8AA-86005E1B7A68}"/>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966AA8D-FE19-49A0-B249-C78D2E85CC91}"/>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2289C80D-1FA5-42CC-A523-8259B7FD08FE}"/>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6261A9E2-F698-4343-96EA-AA0015AC51BC}"/>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1D1108B0-A2B5-43FD-8CC1-CC36168B9031}"/>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AFA473B9-98DD-4132-83C3-26DCC5D0CC8F}"/>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E1286E94-0A74-4D64-8FE5-E2FC7038DCB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DB23453-5417-4773-B5E0-516CE48D9692}"/>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2DF2930F-8858-4645-96D1-C22246695787}"/>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279497671"/>
      </p:ext>
    </p:extLst>
  </p:cSld>
  <p:clrMapOvr>
    <a:masterClrMapping/>
  </p:clrMapOvr>
  <p:transition>
    <p:fade/>
  </p:transition>
  <p:hf hdr="0" dt="0"/>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467"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
        <p:nvSpPr>
          <p:cNvPr id="14" name="Text Placeholder 8">
            <a:extLst>
              <a:ext uri="{FF2B5EF4-FFF2-40B4-BE49-F238E27FC236}">
                <a16:creationId xmlns:a16="http://schemas.microsoft.com/office/drawing/2014/main" id="{68D44A10-A1BE-4B60-89A4-889D08B8B34B}"/>
              </a:ext>
            </a:extLst>
          </p:cNvPr>
          <p:cNvSpPr>
            <a:spLocks noGrp="1"/>
          </p:cNvSpPr>
          <p:nvPr>
            <p:ph type="body" sz="quarter" idx="17"/>
          </p:nvPr>
        </p:nvSpPr>
        <p:spPr>
          <a:xfrm>
            <a:off x="512874" y="1857892"/>
            <a:ext cx="3584464" cy="4265506"/>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5" name="Text Placeholder 8">
            <a:extLst>
              <a:ext uri="{FF2B5EF4-FFF2-40B4-BE49-F238E27FC236}">
                <a16:creationId xmlns:a16="http://schemas.microsoft.com/office/drawing/2014/main" id="{9F52FC78-7A4E-4367-9DA3-28A234B39DF1}"/>
              </a:ext>
            </a:extLst>
          </p:cNvPr>
          <p:cNvSpPr>
            <a:spLocks noGrp="1"/>
          </p:cNvSpPr>
          <p:nvPr>
            <p:ph type="body" sz="quarter" idx="22"/>
          </p:nvPr>
        </p:nvSpPr>
        <p:spPr>
          <a:xfrm>
            <a:off x="4320000" y="1897258"/>
            <a:ext cx="3556117" cy="422614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8" name="Text Placeholder 8">
            <a:extLst>
              <a:ext uri="{FF2B5EF4-FFF2-40B4-BE49-F238E27FC236}">
                <a16:creationId xmlns:a16="http://schemas.microsoft.com/office/drawing/2014/main" id="{2D6B6D6E-986C-4D4B-8630-4EBB5F79C2AC}"/>
              </a:ext>
            </a:extLst>
          </p:cNvPr>
          <p:cNvSpPr>
            <a:spLocks noGrp="1"/>
          </p:cNvSpPr>
          <p:nvPr>
            <p:ph type="body" sz="quarter" idx="23"/>
          </p:nvPr>
        </p:nvSpPr>
        <p:spPr>
          <a:xfrm>
            <a:off x="8177084" y="1897258"/>
            <a:ext cx="3556117" cy="4226140"/>
          </a:xfrm>
        </p:spPr>
        <p:txBody>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Tree>
    <p:extLst>
      <p:ext uri="{BB962C8B-B14F-4D97-AF65-F5344CB8AC3E}">
        <p14:creationId xmlns:p14="http://schemas.microsoft.com/office/powerpoint/2010/main" val="1174802800"/>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GB" noProof="0" dirty="0"/>
              <a:t>Click icon to add picture</a:t>
            </a:r>
            <a:endParaRPr lang="en-GB" dirty="0"/>
          </a:p>
        </p:txBody>
      </p:sp>
      <p:sp>
        <p:nvSpPr>
          <p:cNvPr id="5" name="Picture Placeholder 7"/>
          <p:cNvSpPr>
            <a:spLocks noGrp="1"/>
          </p:cNvSpPr>
          <p:nvPr>
            <p:ph type="pic" sz="quarter" idx="14"/>
          </p:nvPr>
        </p:nvSpPr>
        <p:spPr>
          <a:xfrm>
            <a:off x="8006398" y="1674087"/>
            <a:ext cx="3683953" cy="1971675"/>
          </a:xfrm>
        </p:spPr>
        <p:txBody>
          <a:bodyPr/>
          <a:lstStyle/>
          <a:p>
            <a:r>
              <a:rPr lang="en-GB" noProof="0" dirty="0"/>
              <a:t>Click icon to add picture</a:t>
            </a:r>
            <a:endParaRPr lang="en-GB" dirty="0"/>
          </a:p>
        </p:txBody>
      </p:sp>
      <p:sp>
        <p:nvSpPr>
          <p:cNvPr id="6" name="Picture Placeholder 7"/>
          <p:cNvSpPr>
            <a:spLocks noGrp="1"/>
          </p:cNvSpPr>
          <p:nvPr>
            <p:ph type="pic" sz="quarter" idx="15"/>
          </p:nvPr>
        </p:nvSpPr>
        <p:spPr>
          <a:xfrm>
            <a:off x="4273075" y="1674087"/>
            <a:ext cx="3657600" cy="1971675"/>
          </a:xfrm>
        </p:spPr>
        <p:txBody>
          <a:bodyPr/>
          <a:lstStyle/>
          <a:p>
            <a:r>
              <a:rPr lang="en-GB" noProof="0" dirty="0"/>
              <a:t>Click icon to add picture</a:t>
            </a:r>
            <a:endParaRPr lang="en-GB" dirty="0"/>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rm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79386587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5" name="Text Placeholder 8"/>
          <p:cNvSpPr>
            <a:spLocks noGrp="1"/>
          </p:cNvSpPr>
          <p:nvPr>
            <p:ph type="body" sz="quarter" idx="18"/>
          </p:nvPr>
        </p:nvSpPr>
        <p:spPr>
          <a:xfrm>
            <a:off x="9096836"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6" name="Text Placeholder 8"/>
          <p:cNvSpPr>
            <a:spLocks noGrp="1"/>
          </p:cNvSpPr>
          <p:nvPr>
            <p:ph type="body" sz="quarter" idx="19"/>
          </p:nvPr>
        </p:nvSpPr>
        <p:spPr>
          <a:xfrm>
            <a:off x="3368279"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7" name="Text Placeholder 8"/>
          <p:cNvSpPr>
            <a:spLocks noGrp="1"/>
          </p:cNvSpPr>
          <p:nvPr>
            <p:ph type="body" sz="quarter" idx="20"/>
          </p:nvPr>
        </p:nvSpPr>
        <p:spPr>
          <a:xfrm>
            <a:off x="6232557" y="2556000"/>
            <a:ext cx="2592000" cy="3394800"/>
          </a:xfrm>
        </p:spPr>
        <p:txBody>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1684489057"/>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GB"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GB" dirty="0"/>
              <a:t>Click to add title</a:t>
            </a:r>
          </a:p>
        </p:txBody>
      </p:sp>
    </p:spTree>
    <p:extLst>
      <p:ext uri="{BB962C8B-B14F-4D97-AF65-F5344CB8AC3E}">
        <p14:creationId xmlns:p14="http://schemas.microsoft.com/office/powerpoint/2010/main" val="2289890101"/>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egal Text White">
    <p:bg>
      <p:bgPr>
        <a:solidFill>
          <a:schemeClr val="bg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DBE0613-D0C6-405A-ACD6-58EF0477427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grpSp>
      <p:sp>
        <p:nvSpPr>
          <p:cNvPr id="4" name="text" descr="{&quot;templafy&quot;:{&quot;id&quot;:&quot;a258daec-32df-4362-bfc3-5dc005fdde7f&quot;}}" title="UserProfile.LegalEntity.Boilerplate_{{Form.InternalExternal.PptDynamicPrefix}}">
            <a:extLst>
              <a:ext uri="{FF2B5EF4-FFF2-40B4-BE49-F238E27FC236}">
                <a16:creationId xmlns:a16="http://schemas.microsoft.com/office/drawing/2014/main" id="{71490C82-24AA-476D-AA48-45B05331BAF6}"/>
              </a:ext>
            </a:extLst>
          </p:cNvPr>
          <p:cNvSpPr txBox="1"/>
          <p:nvPr userDrawn="1"/>
        </p:nvSpPr>
        <p:spPr>
          <a:xfrm>
            <a:off x="501652" y="1341749"/>
            <a:ext cx="8528936" cy="5040000"/>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GB" sz="900" dirty="0">
                <a:solidFill>
                  <a:schemeClr val="tx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This communication contains general information only, and none of Deloitte Touche Tohmatsu Limited (“DTTL”), its global network of member firms or their related entities (collectively, the “Deloitte organisation”)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
© 2022. Deloitte Limited (as trustee for the Deloitte Trading Trust).</a:t>
            </a:r>
          </a:p>
        </p:txBody>
      </p:sp>
    </p:spTree>
    <p:extLst>
      <p:ext uri="{BB962C8B-B14F-4D97-AF65-F5344CB8AC3E}">
        <p14:creationId xmlns:p14="http://schemas.microsoft.com/office/powerpoint/2010/main" val="3082662214"/>
      </p:ext>
    </p:extLst>
  </p:cSld>
  <p:clrMapOvr>
    <a:masterClrMapping/>
  </p:clrMapOvr>
  <p:hf hdr="0" dt="0"/>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Legal Text Black">
    <p:bg>
      <p:bgPr>
        <a:solidFill>
          <a:schemeClr val="tx1"/>
        </a:solidFill>
        <a:effectLst/>
      </p:bgPr>
    </p:bg>
    <p:spTree>
      <p:nvGrpSpPr>
        <p:cNvPr id="1" name=""/>
        <p:cNvGrpSpPr/>
        <p:nvPr/>
      </p:nvGrpSpPr>
      <p:grpSpPr>
        <a:xfrm>
          <a:off x="0" y="0"/>
          <a:ext cx="0" cy="0"/>
          <a:chOff x="0" y="0"/>
          <a:chExt cx="0" cy="0"/>
        </a:xfrm>
      </p:grpSpPr>
      <p:grpSp>
        <p:nvGrpSpPr>
          <p:cNvPr id="20" name="Group 19">
            <a:extLst>
              <a:ext uri="{FF2B5EF4-FFF2-40B4-BE49-F238E27FC236}">
                <a16:creationId xmlns:a16="http://schemas.microsoft.com/office/drawing/2014/main" id="{8DBE0613-D0C6-405A-ACD6-58EF0477427B}"/>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18" name="text" descr="{&quot;templafy&quot;:{&quot;id&quot;:&quot;005bb826-0c42-4d8e-beef-930f60088aa6&quot;}}" title="UserProfile.LegalEntity.Boilerplate_{{Form.InternalExternal.PptDynamicPrefix}}">
            <a:extLst>
              <a:ext uri="{FF2B5EF4-FFF2-40B4-BE49-F238E27FC236}">
                <a16:creationId xmlns:a16="http://schemas.microsoft.com/office/drawing/2014/main" id="{428134EC-E3E1-422C-926B-53B2BC3EA4A7}"/>
              </a:ext>
            </a:extLst>
          </p:cNvPr>
          <p:cNvSpPr txBox="1"/>
          <p:nvPr userDrawn="1"/>
        </p:nvSpPr>
        <p:spPr>
          <a:xfrm>
            <a:off x="501652" y="1341749"/>
            <a:ext cx="8528936" cy="5040000"/>
          </a:xfrm>
          <a:prstGeom prst="rect">
            <a:avLst/>
          </a:prstGeom>
          <a:noFill/>
          <a:ln>
            <a:noFill/>
          </a:ln>
        </p:spPr>
        <p:txBody>
          <a:bodyPr wrap="square" lIns="0" tIns="0" rIns="0" bIns="0" rtlCol="0" anchor="b" anchorCtr="0">
            <a:noAutofit/>
          </a:bodyPr>
          <a:lstStyle/>
          <a:p>
            <a:pPr marL="0" indent="0">
              <a:spcBef>
                <a:spcPts val="0"/>
              </a:spcBef>
              <a:buSzPct val="100000"/>
              <a:buFont typeface="Arial"/>
              <a:buNone/>
            </a:pPr>
            <a:r>
              <a:rPr lang="en-GB" sz="900">
                <a:solidFill>
                  <a:schemeClr val="bg1"/>
                </a:solidFill>
              </a:rPr>
              <a:t>Deloitte refers to one or more of Deloitte Touche Tohmatsu Limited (“DTTL”), its global network of member firms, and their related entities (collectively, the “Deloitte organisation”). DTTL (also referred to as “Deloitte Global”) and each of its member firms and related entities are legally separate and independent entities, which cannot obligate or bind each other in respect of third parties. DTTL and each DTTL member firm and related entity is liable only for its own acts and omissions, and not those of each other. DTTL does not provide services to clients. Please see www.deloitte.com/about to learn more.
Deloitte Asia Pacific Limited is a company limited by guarantee and a member firm of DTTL. Members of Deloitte Asia Pacific Limited and their related entities, each of which are separate and independent legal entities, provide services from more than 100 cities across the region, including Auckland, Bangkok, Beijing, Hanoi, Hong Kong, Jakarta, Kuala Lumpur, Manila, Melbourne, Osaka, Seoul, Shanghai, Singapore, Sydney, Taipei and Tokyo.
Deloitte provides industry-leading audit and assurance, tax and legal, consulting, financial advisory, and risk advisory services to nearly 90% of the Fortune Global 500® and thousands of private companies. Our professionals deliver measurable and lasting results that help reinforce public trust in capital markets, enable clients to transform and thrive, and lead the way toward a stronger economy, a more equitable society and a sustainable world. Building on its 175-plus year history, Deloitte spans more than 150 countries and territories. Learn how Deloitte’s more than 345,000 people worldwide make an impact that matters at www.deloitte.com.
Deloitte New Zealand brings together more than 1600 specialist professionals providing audit, tax, technology and systems, strategy and performance improvement, risk management, corporate finance, business recovery, forensic and accounting services. Our people are based in Auckland, Hamilton, Rotorua, Wellington, Christchurch, Queenstown and Dunedin, serving clients that range from New Zealand’s largest companies and public sector organisations to smaller businesses with ambition to grow. For more information about Deloitte in New Zealand, look to our website www.deloitte.co.nz.
This communication contains general information only, and none of Deloitte Touche Tohmatsu Limited (“DTTL”), its global network of member firms or their related entities (collectively, the “Deloitte organisation”) is, by means of this communication, rendering professional advice or services. Before making any decision or taking any action that may affect your finances or your business, you should consult a qualified professional adviser.
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
© 2022. Deloitte Limited (as trustee for the Deloitte Trading Trust).</a:t>
            </a:r>
            <a:endParaRPr lang="en-GB" sz="900" dirty="0">
              <a:solidFill>
                <a:schemeClr val="bg1"/>
              </a:solidFill>
            </a:endParaRPr>
          </a:p>
        </p:txBody>
      </p:sp>
    </p:spTree>
    <p:extLst>
      <p:ext uri="{BB962C8B-B14F-4D97-AF65-F5344CB8AC3E}">
        <p14:creationId xmlns:p14="http://schemas.microsoft.com/office/powerpoint/2010/main" val="369596329"/>
      </p:ext>
    </p:extLst>
  </p:cSld>
  <p:clrMapOvr>
    <a:masterClrMapping/>
  </p:clrMapOvr>
  <p:hf hdr="0" dt="0"/>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4">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28000" y="1705670"/>
            <a:ext cx="10514651"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GB"/>
              <a:t>Click to edit Master title style</a:t>
            </a:r>
            <a:endParaRPr lang="en-GB" dirty="0"/>
          </a:p>
        </p:txBody>
      </p:sp>
      <p:sp>
        <p:nvSpPr>
          <p:cNvPr id="3" name="Text Placeholder 2"/>
          <p:cNvSpPr>
            <a:spLocks noGrp="1"/>
          </p:cNvSpPr>
          <p:nvPr>
            <p:ph type="body" idx="1"/>
          </p:nvPr>
        </p:nvSpPr>
        <p:spPr bwMode="gray">
          <a:xfrm>
            <a:off x="528000" y="3429000"/>
            <a:ext cx="10517717" cy="1566532"/>
          </a:xfrm>
        </p:spPr>
        <p:txBody>
          <a:bodyPr lIns="0" tIns="0" rIns="0" bIns="0">
            <a:noAutofit/>
          </a:bodyPr>
          <a:lstStyle>
            <a:lvl1pPr marL="0" indent="0">
              <a:lnSpc>
                <a:spcPct val="95000"/>
              </a:lnSpc>
              <a:spcAft>
                <a:spcPts val="0"/>
              </a:spcAft>
              <a:buNone/>
              <a:defRPr sz="36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endParaRPr lang="en-GB" dirty="0"/>
          </a:p>
        </p:txBody>
      </p:sp>
      <p:sp>
        <p:nvSpPr>
          <p:cNvPr id="4" name="TextBox 3">
            <a:extLst>
              <a:ext uri="{FF2B5EF4-FFF2-40B4-BE49-F238E27FC236}">
                <a16:creationId xmlns:a16="http://schemas.microsoft.com/office/drawing/2014/main" id="{B38144EB-38BB-429A-B831-57AD7F2B193B}"/>
              </a:ext>
            </a:extLst>
          </p:cNvPr>
          <p:cNvSpPr txBox="1"/>
          <p:nvPr userDrawn="1"/>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GB" sz="900" noProof="0" dirty="0">
              <a:solidFill>
                <a:schemeClr val="bg1"/>
              </a:solidFill>
              <a:latin typeface="Calibri" panose="020F0502020204030204" pitchFamily="34" charset="0"/>
              <a:cs typeface="Calibri" panose="020F0502020204030204" pitchFamily="34" charset="0"/>
            </a:endParaRPr>
          </a:p>
        </p:txBody>
      </p:sp>
      <p:sp>
        <p:nvSpPr>
          <p:cNvPr id="5" name="text title" descr="{&quot;templafy&quot;:{&quot;id&quot;:&quot;cf231a71-dae7-4e16-b987-ebfa457eee79&quot;}}" title="Form.PresentationTitle">
            <a:extLst>
              <a:ext uri="{FF2B5EF4-FFF2-40B4-BE49-F238E27FC236}">
                <a16:creationId xmlns:a16="http://schemas.microsoft.com/office/drawing/2014/main" id="{EFBE45EC-4062-4615-B094-0CA48D2A8A62}"/>
              </a:ext>
            </a:extLst>
          </p:cNvPr>
          <p:cNvSpPr/>
          <p:nvPr userDrawn="1"/>
        </p:nvSpPr>
        <p:spPr bwMode="gray">
          <a:xfrm>
            <a:off x="7727951" y="6476999"/>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endParaRPr lang="en-GB" sz="900" kern="1200" dirty="0">
              <a:solidFill>
                <a:schemeClr val="bg1"/>
              </a:solidFill>
              <a:latin typeface="Calibri" panose="020F0502020204030204" pitchFamily="34" charset="0"/>
              <a:ea typeface="+mn-ea"/>
              <a:cs typeface="Calibri" panose="020F0502020204030204" pitchFamily="34" charset="0"/>
            </a:endParaRPr>
          </a:p>
        </p:txBody>
      </p:sp>
      <p:sp>
        <p:nvSpPr>
          <p:cNvPr id="6" name="text class" descr="{&quot;templafy&quot;:{&quot;id&quot;:&quot;a0573731-6272-424e-8ed6-21bfbf31f692&quot;}}" title="Form.Confidential.ClassificationInsertText">
            <a:extLst>
              <a:ext uri="{FF2B5EF4-FFF2-40B4-BE49-F238E27FC236}">
                <a16:creationId xmlns:a16="http://schemas.microsoft.com/office/drawing/2014/main" id="{22605EEE-A688-46A0-8ECD-F27CD5C1F757}"/>
              </a:ext>
            </a:extLst>
          </p:cNvPr>
          <p:cNvSpPr/>
          <p:nvPr userDrawn="1"/>
        </p:nvSpPr>
        <p:spPr bwMode="gray">
          <a:xfrm>
            <a:off x="9738302" y="6476999"/>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endParaRPr lang="en-GB" sz="900" kern="1200" dirty="0">
              <a:solidFill>
                <a:schemeClr val="bg1"/>
              </a:solidFill>
              <a:latin typeface="Calibri" panose="020F0502020204030204" pitchFamily="34" charset="0"/>
              <a:ea typeface="+mn-ea"/>
              <a:cs typeface="Calibri" panose="020F0502020204030204" pitchFamily="34" charset="0"/>
            </a:endParaRPr>
          </a:p>
        </p:txBody>
      </p:sp>
      <p:sp>
        <p:nvSpPr>
          <p:cNvPr id="8" name="text Copyright" descr="{&quot;templafy&quot;:{&quot;id&quot;:&quot;fffb4e53-f296-495b-82df-41d50ca92a1d&quot;}}" title="UserProfile.LegalEntity.Copyright">
            <a:extLst>
              <a:ext uri="{FF2B5EF4-FFF2-40B4-BE49-F238E27FC236}">
                <a16:creationId xmlns:a16="http://schemas.microsoft.com/office/drawing/2014/main" id="{9A976B5C-1794-4CB5-A433-1144972830BA}"/>
              </a:ext>
            </a:extLst>
          </p:cNvPr>
          <p:cNvSpPr/>
          <p:nvPr userDrawn="1"/>
        </p:nvSpPr>
        <p:spPr bwMode="gray">
          <a:xfrm>
            <a:off x="501649" y="6476999"/>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900">
                <a:solidFill>
                  <a:schemeClr val="bg1"/>
                </a:solidFill>
              </a:rPr>
              <a:t>© 2022. Deloitte Limited (as trustee for the Deloitte Trading Trust).</a:t>
            </a:r>
            <a:endParaRPr lang="en-GB" sz="900" kern="1200" dirty="0">
              <a:solidFill>
                <a:schemeClr val="bg1"/>
              </a:solidFill>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2973471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GB" noProof="0" dirty="0"/>
              <a:t>Click icon to add picture</a:t>
            </a:r>
            <a:endParaRPr lang="en-GB" dirty="0"/>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GB" noProof="0" dirty="0"/>
              <a:t>Click to edit Master title style</a:t>
            </a:r>
            <a:endParaRPr lang="en-GB"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noProof="0" dirty="0"/>
              <a:t>Click to edit Master text styles</a:t>
            </a:r>
            <a:endParaRPr lang="en-GB" dirty="0"/>
          </a:p>
        </p:txBody>
      </p:sp>
    </p:spTree>
    <p:extLst>
      <p:ext uri="{BB962C8B-B14F-4D97-AF65-F5344CB8AC3E}">
        <p14:creationId xmlns:p14="http://schemas.microsoft.com/office/powerpoint/2010/main" val="4275811206"/>
      </p:ext>
    </p:extLst>
  </p:cSld>
  <p:clrMapOvr>
    <a:masterClrMapping/>
  </p:clrMapOvr>
  <p:transition>
    <p:fade/>
  </p:transition>
  <p:hf hdr="0" dt="0"/>
  <p:extLst>
    <p:ext uri="{DCECCB84-F9BA-43D5-87BE-67443E8EF086}">
      <p15:sldGuideLst xmlns:p15="http://schemas.microsoft.com/office/powerpoint/2012/main">
        <p15:guide id="1" orient="horz" pos="4088">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vmlDrawing" Target="../drawings/vmlDrawing1.v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9" Type="http://schemas.openxmlformats.org/officeDocument/2006/relationships/slideLayout" Target="../slideLayouts/slideLayout87.xml"/><Relationship Id="rId21" Type="http://schemas.openxmlformats.org/officeDocument/2006/relationships/slideLayout" Target="../slideLayouts/slideLayout69.xml"/><Relationship Id="rId34" Type="http://schemas.openxmlformats.org/officeDocument/2006/relationships/slideLayout" Target="../slideLayouts/slideLayout82.xml"/><Relationship Id="rId42" Type="http://schemas.openxmlformats.org/officeDocument/2006/relationships/slideLayout" Target="../slideLayouts/slideLayout90.xml"/><Relationship Id="rId47" Type="http://schemas.openxmlformats.org/officeDocument/2006/relationships/slideLayout" Target="../slideLayouts/slideLayout95.xml"/><Relationship Id="rId50" Type="http://schemas.openxmlformats.org/officeDocument/2006/relationships/theme" Target="../theme/theme2.xml"/><Relationship Id="rId7" Type="http://schemas.openxmlformats.org/officeDocument/2006/relationships/slideLayout" Target="../slideLayouts/slideLayout55.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9" Type="http://schemas.openxmlformats.org/officeDocument/2006/relationships/slideLayout" Target="../slideLayouts/slideLayout77.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slideLayout" Target="../slideLayouts/slideLayout80.xml"/><Relationship Id="rId37" Type="http://schemas.openxmlformats.org/officeDocument/2006/relationships/slideLayout" Target="../slideLayouts/slideLayout85.xml"/><Relationship Id="rId40" Type="http://schemas.openxmlformats.org/officeDocument/2006/relationships/slideLayout" Target="../slideLayouts/slideLayout88.xml"/><Relationship Id="rId45" Type="http://schemas.openxmlformats.org/officeDocument/2006/relationships/slideLayout" Target="../slideLayouts/slideLayout93.xml"/><Relationship Id="rId53" Type="http://schemas.openxmlformats.org/officeDocument/2006/relationships/oleObject" Target="../embeddings/oleObject2.bin"/><Relationship Id="rId5" Type="http://schemas.openxmlformats.org/officeDocument/2006/relationships/slideLayout" Target="../slideLayouts/slideLayout53.xml"/><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slideLayout" Target="../slideLayouts/slideLayout79.xml"/><Relationship Id="rId44" Type="http://schemas.openxmlformats.org/officeDocument/2006/relationships/slideLayout" Target="../slideLayouts/slideLayout92.xml"/><Relationship Id="rId52" Type="http://schemas.openxmlformats.org/officeDocument/2006/relationships/tags" Target="../tags/tag3.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slideLayout" Target="../slideLayouts/slideLayout83.xml"/><Relationship Id="rId43" Type="http://schemas.openxmlformats.org/officeDocument/2006/relationships/slideLayout" Target="../slideLayouts/slideLayout91.xml"/><Relationship Id="rId48" Type="http://schemas.openxmlformats.org/officeDocument/2006/relationships/slideLayout" Target="../slideLayouts/slideLayout96.xml"/><Relationship Id="rId8" Type="http://schemas.openxmlformats.org/officeDocument/2006/relationships/slideLayout" Target="../slideLayouts/slideLayout56.xml"/><Relationship Id="rId51" Type="http://schemas.openxmlformats.org/officeDocument/2006/relationships/vmlDrawing" Target="../drawings/vmlDrawing2.vml"/><Relationship Id="rId3" Type="http://schemas.openxmlformats.org/officeDocument/2006/relationships/slideLayout" Target="../slideLayouts/slideLayout51.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slideLayout" Target="../slideLayouts/slideLayout81.xml"/><Relationship Id="rId38" Type="http://schemas.openxmlformats.org/officeDocument/2006/relationships/slideLayout" Target="../slideLayouts/slideLayout86.xml"/><Relationship Id="rId46" Type="http://schemas.openxmlformats.org/officeDocument/2006/relationships/slideLayout" Target="../slideLayouts/slideLayout94.xml"/><Relationship Id="rId20" Type="http://schemas.openxmlformats.org/officeDocument/2006/relationships/slideLayout" Target="../slideLayouts/slideLayout68.xml"/><Relationship Id="rId41" Type="http://schemas.openxmlformats.org/officeDocument/2006/relationships/slideLayout" Target="../slideLayouts/slideLayout89.xml"/><Relationship Id="rId54" Type="http://schemas.openxmlformats.org/officeDocument/2006/relationships/image" Target="../media/image1.emf"/><Relationship Id="rId1" Type="http://schemas.openxmlformats.org/officeDocument/2006/relationships/slideLayout" Target="../slideLayouts/slideLayout49.xml"/><Relationship Id="rId6" Type="http://schemas.openxmlformats.org/officeDocument/2006/relationships/slideLayout" Target="../slideLayouts/slideLayout54.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slideLayout" Target="../slideLayouts/slideLayout84.xml"/><Relationship Id="rId4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1"/>
            </p:custDataLst>
            <p:extLst>
              <p:ext uri="{D42A27DB-BD31-4B8C-83A1-F6EECF244321}">
                <p14:modId xmlns:p14="http://schemas.microsoft.com/office/powerpoint/2010/main" val="3087151445"/>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3" name="think-cell Slide" r:id="rId52" imgW="270" imgH="270" progId="TCLayout.ActiveDocument.1">
                  <p:embed/>
                </p:oleObj>
              </mc:Choice>
              <mc:Fallback>
                <p:oleObj name="think-cell Slide" r:id="rId52" imgW="270" imgH="270" progId="TCLayout.ActiveDocument.1">
                  <p:embed/>
                  <p:pic>
                    <p:nvPicPr>
                      <p:cNvPr id="4" name="Object 3" hidden="1"/>
                      <p:cNvPicPr/>
                      <p:nvPr/>
                    </p:nvPicPr>
                    <p:blipFill>
                      <a:blip r:embed="rId53"/>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GB" noProof="0"/>
              <a:t>Click to edit Master title style</a:t>
            </a:r>
            <a:endParaRPr lang="en-GB"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GB" dirty="0"/>
          </a:p>
        </p:txBody>
      </p:sp>
      <p:sp>
        <p:nvSpPr>
          <p:cNvPr id="3" name="TextBox 2"/>
          <p:cNvSpPr txBox="1"/>
          <p:nvPr/>
        </p:nvSpPr>
        <p:spPr>
          <a:xfrm>
            <a:off x="11382377" y="6476999"/>
            <a:ext cx="307975" cy="144000"/>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900" noProof="0" smtClean="0">
                <a:solidFill>
                  <a:schemeClr val="tx1"/>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900" noProof="0" dirty="0">
              <a:solidFill>
                <a:schemeClr val="tx1"/>
              </a:solidFill>
              <a:latin typeface="Calibri" panose="020F0502020204030204" pitchFamily="34" charset="0"/>
              <a:cs typeface="Calibri" panose="020F0502020204030204" pitchFamily="34" charset="0"/>
            </a:endParaRPr>
          </a:p>
        </p:txBody>
      </p:sp>
      <p:sp>
        <p:nvSpPr>
          <p:cNvPr id="8" name="text Copyright" descr="{&quot;templafy&quot;:{&quot;id&quot;:&quot;a6a12ee9-a687-4b19-9328-babbc9476447&quot;}}" title="UserProfile.LegalEntity.Copyright">
            <a:extLst>
              <a:ext uri="{FF2B5EF4-FFF2-40B4-BE49-F238E27FC236}">
                <a16:creationId xmlns:a16="http://schemas.microsoft.com/office/drawing/2014/main" id="{121C63D2-1F7A-49B5-A582-40D44D34242B}"/>
              </a:ext>
            </a:extLst>
          </p:cNvPr>
          <p:cNvSpPr/>
          <p:nvPr userDrawn="1"/>
        </p:nvSpPr>
        <p:spPr bwMode="gray">
          <a:xfrm>
            <a:off x="501649" y="6476999"/>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900" kern="1200">
                <a:solidFill>
                  <a:schemeClr val="tx1"/>
                </a:solidFill>
                <a:latin typeface="Calibri" panose="020F0502020204030204" pitchFamily="34" charset="0"/>
                <a:ea typeface="+mn-ea"/>
                <a:cs typeface="Calibri" panose="020F0502020204030204" pitchFamily="34" charset="0"/>
              </a:rPr>
              <a:t>© 2022. Deloitte Limited (as trustee for the Deloitte Trading Trust).</a:t>
            </a:r>
            <a:endParaRPr lang="en-GB" sz="900" kern="1200" dirty="0">
              <a:solidFill>
                <a:schemeClr val="tx1"/>
              </a:solidFill>
              <a:latin typeface="Calibri" panose="020F0502020204030204" pitchFamily="34" charset="0"/>
              <a:ea typeface="+mn-ea"/>
              <a:cs typeface="Calibri" panose="020F0502020204030204" pitchFamily="34" charset="0"/>
            </a:endParaRPr>
          </a:p>
        </p:txBody>
      </p:sp>
      <p:sp>
        <p:nvSpPr>
          <p:cNvPr id="12" name="text title" descr="{&quot;templafy&quot;:{&quot;id&quot;:&quot;209a0f7c-119b-47bc-b65b-7764a4f5ce73&quot;}}" title="Form.PresentationTitle">
            <a:extLst>
              <a:ext uri="{FF2B5EF4-FFF2-40B4-BE49-F238E27FC236}">
                <a16:creationId xmlns:a16="http://schemas.microsoft.com/office/drawing/2014/main" id="{13BD590F-89C3-47BD-92B5-695635160828}"/>
              </a:ext>
            </a:extLst>
          </p:cNvPr>
          <p:cNvSpPr/>
          <p:nvPr userDrawn="1"/>
        </p:nvSpPr>
        <p:spPr bwMode="gray">
          <a:xfrm>
            <a:off x="7727951" y="6476999"/>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900" kern="1200" dirty="0">
                <a:solidFill>
                  <a:schemeClr val="tx1"/>
                </a:solidFill>
                <a:latin typeface="Calibri" panose="020F0502020204030204" pitchFamily="34" charset="0"/>
                <a:ea typeface="+mn-ea"/>
                <a:cs typeface="Calibri" panose="020F0502020204030204" pitchFamily="34" charset="0"/>
              </a:rPr>
              <a:t>Water Workforce Analysis</a:t>
            </a:r>
          </a:p>
        </p:txBody>
      </p:sp>
      <p:sp>
        <p:nvSpPr>
          <p:cNvPr id="13" name="text class" descr="{&quot;templafy&quot;:{&quot;id&quot;:&quot;d15b711d-93c6-40ea-a5ab-75703a923bc1&quot;}}" title="Form.Confidential.ClassificationInsertText">
            <a:extLst>
              <a:ext uri="{FF2B5EF4-FFF2-40B4-BE49-F238E27FC236}">
                <a16:creationId xmlns:a16="http://schemas.microsoft.com/office/drawing/2014/main" id="{7A485CD8-B639-45CC-920D-3C14B1EE658A}"/>
              </a:ext>
            </a:extLst>
          </p:cNvPr>
          <p:cNvSpPr/>
          <p:nvPr userDrawn="1"/>
        </p:nvSpPr>
        <p:spPr bwMode="gray">
          <a:xfrm>
            <a:off x="9738302" y="6476999"/>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900" kern="1200" dirty="0">
                <a:solidFill>
                  <a:schemeClr val="tx1"/>
                </a:solidFill>
                <a:latin typeface="Calibri" panose="020F0502020204030204" pitchFamily="34" charset="0"/>
                <a:ea typeface="+mn-ea"/>
                <a:cs typeface="Calibri" panose="020F0502020204030204" pitchFamily="34" charset="0"/>
              </a:rPr>
              <a:t>CONFIDENTIAL</a:t>
            </a:r>
          </a:p>
        </p:txBody>
      </p:sp>
      <p:sp>
        <p:nvSpPr>
          <p:cNvPr id="14" name="Rectangle 13">
            <a:extLst>
              <a:ext uri="{FF2B5EF4-FFF2-40B4-BE49-F238E27FC236}">
                <a16:creationId xmlns:a16="http://schemas.microsoft.com/office/drawing/2014/main" id="{C1551763-DFCB-4D8E-B847-07DCFDE27800}"/>
              </a:ext>
            </a:extLst>
          </p:cNvPr>
          <p:cNvSpPr/>
          <p:nvPr userDrawn="1"/>
        </p:nvSpPr>
        <p:spPr bwMode="gray">
          <a:xfrm>
            <a:off x="9680361" y="6500399"/>
            <a:ext cx="10800" cy="97200"/>
          </a:xfrm>
          <a:prstGeom prst="rect">
            <a:avLst/>
          </a:prstGeom>
          <a:solidFill>
            <a:schemeClr val="tx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Tree>
    <p:extLst>
      <p:ext uri="{BB962C8B-B14F-4D97-AF65-F5344CB8AC3E}">
        <p14:creationId xmlns:p14="http://schemas.microsoft.com/office/powerpoint/2010/main" val="495659210"/>
      </p:ext>
    </p:extLst>
  </p:cSld>
  <p:clrMap bg1="lt1" tx1="dk1" bg2="lt2" tx2="dk2" accent1="accent1" accent2="accent2" accent3="accent3" accent4="accent4" accent5="accent5" accent6="accent6" hlink="hlink" folHlink="folHlink"/>
  <p:sldLayoutIdLst>
    <p:sldLayoutId id="2147483898" r:id="rId1"/>
    <p:sldLayoutId id="2147483899" r:id="rId2"/>
    <p:sldLayoutId id="2147483944" r:id="rId3"/>
    <p:sldLayoutId id="2147483900" r:id="rId4"/>
    <p:sldLayoutId id="2147483903" r:id="rId5"/>
    <p:sldLayoutId id="2147483904" r:id="rId6"/>
    <p:sldLayoutId id="2147483905" r:id="rId7"/>
    <p:sldLayoutId id="2147483906" r:id="rId8"/>
    <p:sldLayoutId id="2147483907" r:id="rId9"/>
    <p:sldLayoutId id="2147483908" r:id="rId10"/>
    <p:sldLayoutId id="2147483909" r:id="rId11"/>
    <p:sldLayoutId id="2147483910" r:id="rId12"/>
    <p:sldLayoutId id="2147483911" r:id="rId13"/>
    <p:sldLayoutId id="2147483912" r:id="rId14"/>
    <p:sldLayoutId id="2147483913" r:id="rId15"/>
    <p:sldLayoutId id="2147483914" r:id="rId16"/>
    <p:sldLayoutId id="2147483915" r:id="rId17"/>
    <p:sldLayoutId id="2147483916" r:id="rId18"/>
    <p:sldLayoutId id="2147483917" r:id="rId19"/>
    <p:sldLayoutId id="2147483918" r:id="rId20"/>
    <p:sldLayoutId id="2147483919" r:id="rId21"/>
    <p:sldLayoutId id="2147483920" r:id="rId22"/>
    <p:sldLayoutId id="2147483921" r:id="rId23"/>
    <p:sldLayoutId id="2147483922" r:id="rId24"/>
    <p:sldLayoutId id="2147483923" r:id="rId25"/>
    <p:sldLayoutId id="2147483924" r:id="rId26"/>
    <p:sldLayoutId id="2147483925" r:id="rId27"/>
    <p:sldLayoutId id="2147483926" r:id="rId28"/>
    <p:sldLayoutId id="2147483816" r:id="rId29"/>
    <p:sldLayoutId id="2147483813" r:id="rId30"/>
    <p:sldLayoutId id="2147483818" r:id="rId31"/>
    <p:sldLayoutId id="2147483819" r:id="rId32"/>
    <p:sldLayoutId id="2147483820" r:id="rId33"/>
    <p:sldLayoutId id="2147483821" r:id="rId34"/>
    <p:sldLayoutId id="2147483822" r:id="rId35"/>
    <p:sldLayoutId id="2147483823" r:id="rId36"/>
    <p:sldLayoutId id="2147483817" r:id="rId37"/>
    <p:sldLayoutId id="2147483824" r:id="rId38"/>
    <p:sldLayoutId id="2147483825" r:id="rId39"/>
    <p:sldLayoutId id="2147483828" r:id="rId40"/>
    <p:sldLayoutId id="2147483829" r:id="rId41"/>
    <p:sldLayoutId id="2147483830" r:id="rId42"/>
    <p:sldLayoutId id="2147483826" r:id="rId43"/>
    <p:sldLayoutId id="2147483831" r:id="rId44"/>
    <p:sldLayoutId id="2147483832" r:id="rId45"/>
    <p:sldLayoutId id="2147483945" r:id="rId46"/>
    <p:sldLayoutId id="2147483946" r:id="rId47"/>
    <p:sldLayoutId id="2147483948" r:id="rId48"/>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44" pos="5098" userDrawn="1">
          <p15:clr>
            <a:srgbClr val="F26B43"/>
          </p15:clr>
        </p15:guide>
        <p15:guide id="45" orient="horz" pos="2160" userDrawn="1">
          <p15:clr>
            <a:srgbClr val="F26B43"/>
          </p15:clr>
        </p15:guide>
        <p15:guide id="46" orient="horz" pos="3968" userDrawn="1">
          <p15:clr>
            <a:srgbClr val="F26B43"/>
          </p15:clr>
        </p15:guide>
        <p15:guide id="47" pos="312" userDrawn="1">
          <p15:clr>
            <a:srgbClr val="F26B43"/>
          </p15:clr>
        </p15:guide>
        <p15:guide id="48" pos="7368" userDrawn="1">
          <p15:clr>
            <a:srgbClr val="F26B43"/>
          </p15:clr>
        </p15:guide>
        <p15:guide id="49" orient="horz" pos="245" userDrawn="1">
          <p15:clr>
            <a:srgbClr val="F26B43"/>
          </p15:clr>
        </p15:guide>
        <p15:guide id="50" orient="horz" pos="4081" userDrawn="1">
          <p15:clr>
            <a:srgbClr val="F26B43"/>
          </p15:clr>
        </p15:guide>
        <p15:guide id="51" pos="4986" userDrawn="1">
          <p15:clr>
            <a:srgbClr val="F26B43"/>
          </p15:clr>
        </p15:guide>
        <p15:guide id="52" pos="1382" userDrawn="1">
          <p15:clr>
            <a:srgbClr val="F26B43"/>
          </p15:clr>
        </p15:guide>
        <p15:guide id="53" pos="1496" userDrawn="1">
          <p15:clr>
            <a:srgbClr val="F26B43"/>
          </p15:clr>
        </p15:guide>
        <p15:guide id="54" pos="2581" userDrawn="1">
          <p15:clr>
            <a:srgbClr val="F26B43"/>
          </p15:clr>
        </p15:guide>
        <p15:guide id="55" pos="2695" userDrawn="1">
          <p15:clr>
            <a:srgbClr val="F26B43"/>
          </p15:clr>
        </p15:guide>
        <p15:guide id="56" pos="6185" userDrawn="1">
          <p15:clr>
            <a:srgbClr val="F26B43"/>
          </p15:clr>
        </p15:guide>
        <p15:guide id="57" pos="3783" userDrawn="1">
          <p15:clr>
            <a:srgbClr val="F26B43"/>
          </p15:clr>
        </p15:guide>
        <p15:guide id="58" pos="3896" userDrawn="1">
          <p15:clr>
            <a:srgbClr val="F26B43"/>
          </p15:clr>
        </p15:guide>
        <p15:guide id="59" pos="3840" userDrawn="1">
          <p15:clr>
            <a:srgbClr val="F26B43"/>
          </p15:clr>
        </p15:guide>
        <p15:guide id="60" pos="6299" userDrawn="1">
          <p15:clr>
            <a:srgbClr val="F26B43"/>
          </p15:clr>
        </p15:guide>
        <p15:guide id="61" orient="horz" pos="1049" userDrawn="1">
          <p15:clr>
            <a:srgbClr val="F26B43"/>
          </p15:clr>
        </p15:guide>
        <p15:guide id="62" orient="horz" pos="641" userDrawn="1">
          <p15:clr>
            <a:srgbClr val="F26B43"/>
          </p15:clr>
        </p15:guide>
        <p15:guide id="63" orient="horz" pos="28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2"/>
            </p:custDataLst>
            <p:extLst>
              <p:ext uri="{D42A27DB-BD31-4B8C-83A1-F6EECF244321}">
                <p14:modId xmlns:p14="http://schemas.microsoft.com/office/powerpoint/2010/main" val="64148108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7" name="think-cell Slide" r:id="rId53" imgW="270" imgH="270" progId="TCLayout.ActiveDocument.1">
                  <p:embed/>
                </p:oleObj>
              </mc:Choice>
              <mc:Fallback>
                <p:oleObj name="think-cell Slide" r:id="rId53" imgW="270" imgH="270" progId="TCLayout.ActiveDocument.1">
                  <p:embed/>
                  <p:pic>
                    <p:nvPicPr>
                      <p:cNvPr id="4" name="Object 3" hidden="1"/>
                      <p:cNvPicPr/>
                      <p:nvPr/>
                    </p:nvPicPr>
                    <p:blipFill>
                      <a:blip r:embed="rId54"/>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GB" noProof="0" dirty="0"/>
              <a:t>Click to edit Master title style</a:t>
            </a:r>
            <a:endParaRPr lang="en-GB" dirty="0"/>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GB" noProof="0" dirty="0"/>
              <a:t>Click to edit Master text styles</a:t>
            </a:r>
            <a:endParaRPr lang="en-GB" dirty="0"/>
          </a:p>
          <a:p>
            <a:pPr lvl="1"/>
            <a:r>
              <a:rPr lang="en-GB" noProof="0" dirty="0"/>
              <a:t>Second level</a:t>
            </a:r>
            <a:endParaRPr lang="en-GB" dirty="0"/>
          </a:p>
          <a:p>
            <a:pPr lvl="2"/>
            <a:r>
              <a:rPr lang="en-GB" noProof="0" dirty="0"/>
              <a:t>Third level</a:t>
            </a:r>
            <a:endParaRPr lang="en-GB" dirty="0"/>
          </a:p>
          <a:p>
            <a:pPr lvl="3"/>
            <a:r>
              <a:rPr lang="en-GB" noProof="0" dirty="0"/>
              <a:t>Fourth level</a:t>
            </a:r>
            <a:endParaRPr lang="en-GB" dirty="0"/>
          </a:p>
          <a:p>
            <a:pPr lvl="4"/>
            <a:r>
              <a:rPr lang="en-GB" noProof="0" dirty="0"/>
              <a:t>Fifth level</a:t>
            </a:r>
            <a:endParaRPr lang="en-GB" dirty="0"/>
          </a:p>
        </p:txBody>
      </p:sp>
      <p:sp>
        <p:nvSpPr>
          <p:cNvPr id="3" name="TextBox 2"/>
          <p:cNvSpPr txBox="1"/>
          <p:nvPr/>
        </p:nvSpPr>
        <p:spPr>
          <a:xfrm>
            <a:off x="11382377" y="6476999"/>
            <a:ext cx="307975" cy="144000"/>
          </a:xfrm>
          <a:prstGeom prst="rect">
            <a:avLst/>
          </a:prstGeom>
          <a:noFill/>
        </p:spPr>
        <p:txBody>
          <a:bodyPr wrap="square" lIns="0" tIns="0" rIns="0" bIns="0" rtlCol="0">
            <a:noAutofit/>
          </a:bodyPr>
          <a:lstStyle/>
          <a:p>
            <a:pPr marL="0" indent="0" algn="r">
              <a:spcBef>
                <a:spcPts val="0"/>
              </a:spcBef>
              <a:buSzPct val="100000"/>
              <a:buFont typeface="Arial"/>
              <a:buNone/>
            </a:pPr>
            <a:fld id="{C58DF478-B544-4ED8-9ED4-6A2648E2D233}" type="slidenum">
              <a:rPr lang="en-GB" sz="900" noProof="0" smtClean="0">
                <a:solidFill>
                  <a:schemeClr val="bg1"/>
                </a:solidFill>
                <a:latin typeface="Calibri" panose="020F0502020204030204" pitchFamily="34" charset="0"/>
                <a:cs typeface="Calibri" panose="020F0502020204030204" pitchFamily="34" charset="0"/>
              </a:rPr>
              <a:pPr marL="0" indent="0" algn="r">
                <a:spcBef>
                  <a:spcPts val="0"/>
                </a:spcBef>
                <a:buSzPct val="100000"/>
                <a:buFont typeface="Arial"/>
                <a:buNone/>
              </a:pPr>
              <a:t>‹#›</a:t>
            </a:fld>
            <a:endParaRPr lang="en-GB" sz="900" noProof="0" dirty="0">
              <a:solidFill>
                <a:schemeClr val="bg1"/>
              </a:solidFill>
              <a:latin typeface="Calibri" panose="020F0502020204030204" pitchFamily="34" charset="0"/>
              <a:cs typeface="Calibri" panose="020F0502020204030204" pitchFamily="34" charset="0"/>
            </a:endParaRPr>
          </a:p>
        </p:txBody>
      </p:sp>
      <p:sp>
        <p:nvSpPr>
          <p:cNvPr id="12" name="text title" descr="{&quot;templafy&quot;:{&quot;id&quot;:&quot;209a0f7c-119b-47bc-b65b-7764a4f5ce73&quot;}}" title="Form.PresentationTitle">
            <a:extLst>
              <a:ext uri="{FF2B5EF4-FFF2-40B4-BE49-F238E27FC236}">
                <a16:creationId xmlns:a16="http://schemas.microsoft.com/office/drawing/2014/main" id="{13BD590F-89C3-47BD-92B5-695635160828}"/>
              </a:ext>
            </a:extLst>
          </p:cNvPr>
          <p:cNvSpPr/>
          <p:nvPr userDrawn="1"/>
        </p:nvSpPr>
        <p:spPr bwMode="gray">
          <a:xfrm>
            <a:off x="7727951" y="6476999"/>
            <a:ext cx="1905000" cy="144000"/>
          </a:xfrm>
          <a:prstGeom prst="rect">
            <a:avLst/>
          </a:prstGeom>
          <a:noFill/>
          <a:ln w="19050" algn="ctr">
            <a:noFill/>
            <a:miter lim="800000"/>
            <a:headEnd/>
            <a:tailEnd/>
          </a:ln>
        </p:spPr>
        <p:txBody>
          <a:bodyPr wrap="square" lIns="0" tIns="0" rIns="0" bIns="0" rtlCol="0" anchor="t" anchorCtr="0"/>
          <a:lstStyle/>
          <a:p>
            <a:pPr algn="r">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Water Workforce Analysis</a:t>
            </a:r>
          </a:p>
        </p:txBody>
      </p:sp>
      <p:sp>
        <p:nvSpPr>
          <p:cNvPr id="13" name="text class" descr="{&quot;templafy&quot;:{&quot;id&quot;:&quot;d15b711d-93c6-40ea-a5ab-75703a923bc1&quot;}}" title="Form.Confidential.ClassificationInsertText">
            <a:extLst>
              <a:ext uri="{FF2B5EF4-FFF2-40B4-BE49-F238E27FC236}">
                <a16:creationId xmlns:a16="http://schemas.microsoft.com/office/drawing/2014/main" id="{7A485CD8-B639-45CC-920D-3C14B1EE658A}"/>
              </a:ext>
            </a:extLst>
          </p:cNvPr>
          <p:cNvSpPr/>
          <p:nvPr userDrawn="1"/>
        </p:nvSpPr>
        <p:spPr bwMode="gray">
          <a:xfrm>
            <a:off x="9738302" y="6476999"/>
            <a:ext cx="1548859"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900" kern="1200" dirty="0">
                <a:solidFill>
                  <a:schemeClr val="bg1"/>
                </a:solidFill>
                <a:latin typeface="Calibri" panose="020F0502020204030204" pitchFamily="34" charset="0"/>
                <a:ea typeface="+mn-ea"/>
                <a:cs typeface="Calibri" panose="020F0502020204030204" pitchFamily="34" charset="0"/>
              </a:rPr>
              <a:t>CONFIDENTIAL</a:t>
            </a:r>
          </a:p>
        </p:txBody>
      </p:sp>
      <p:sp>
        <p:nvSpPr>
          <p:cNvPr id="14" name="Rectangle 13">
            <a:extLst>
              <a:ext uri="{FF2B5EF4-FFF2-40B4-BE49-F238E27FC236}">
                <a16:creationId xmlns:a16="http://schemas.microsoft.com/office/drawing/2014/main" id="{C1551763-DFCB-4D8E-B847-07DCFDE27800}"/>
              </a:ext>
            </a:extLst>
          </p:cNvPr>
          <p:cNvSpPr/>
          <p:nvPr userDrawn="1"/>
        </p:nvSpPr>
        <p:spPr bwMode="gray">
          <a:xfrm>
            <a:off x="9680361" y="6500399"/>
            <a:ext cx="10800" cy="97200"/>
          </a:xfrm>
          <a:prstGeom prst="rect">
            <a:avLst/>
          </a:prstGeom>
          <a:solidFill>
            <a:schemeClr val="bg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8" name="text Copyright" descr="{&quot;templafy&quot;:{&quot;id&quot;:&quot;a6a12ee9-a687-4b19-9328-babbc9476447&quot;}}" title="UserProfile.LegalEntity.Copyright">
            <a:extLst>
              <a:ext uri="{FF2B5EF4-FFF2-40B4-BE49-F238E27FC236}">
                <a16:creationId xmlns:a16="http://schemas.microsoft.com/office/drawing/2014/main" id="{121C63D2-1F7A-49B5-A582-40D44D34242B}"/>
              </a:ext>
            </a:extLst>
          </p:cNvPr>
          <p:cNvSpPr/>
          <p:nvPr userDrawn="1"/>
        </p:nvSpPr>
        <p:spPr bwMode="gray">
          <a:xfrm>
            <a:off x="501649" y="6476999"/>
            <a:ext cx="5356800" cy="144000"/>
          </a:xfrm>
          <a:prstGeom prst="rect">
            <a:avLst/>
          </a:prstGeom>
          <a:noFill/>
          <a:ln w="19050" algn="ctr">
            <a:noFill/>
            <a:miter lim="800000"/>
            <a:headEnd/>
            <a:tailEnd/>
          </a:ln>
        </p:spPr>
        <p:txBody>
          <a:bodyPr wrap="square" lIns="0" tIns="0" rIns="0" bIns="0" rtlCol="0" anchor="t" anchorCtr="0"/>
          <a:lstStyle/>
          <a:p>
            <a:pPr algn="l">
              <a:lnSpc>
                <a:spcPct val="100000"/>
              </a:lnSpc>
              <a:buFont typeface="Wingdings 2" pitchFamily="18" charset="2"/>
              <a:buNone/>
            </a:pPr>
            <a:r>
              <a:rPr lang="en-GB" sz="900" kern="1200">
                <a:solidFill>
                  <a:schemeClr val="bg1"/>
                </a:solidFill>
                <a:latin typeface="Calibri" panose="020F0502020204030204" pitchFamily="34" charset="0"/>
                <a:ea typeface="+mn-ea"/>
                <a:cs typeface="Calibri" panose="020F0502020204030204" pitchFamily="34" charset="0"/>
              </a:rPr>
              <a:t>© 2022. Deloitte Limited (as trustee for the Deloitte Trading Trust).</a:t>
            </a:r>
            <a:endParaRPr lang="en-GB" sz="900" kern="1200" dirty="0">
              <a:solidFill>
                <a:schemeClr val="bg1"/>
              </a:solidFill>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309216084"/>
      </p:ext>
    </p:extLst>
  </p:cSld>
  <p:clrMap bg1="lt1" tx1="dk1" bg2="lt2" tx2="dk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8" r:id="rId5"/>
    <p:sldLayoutId id="2147483959" r:id="rId6"/>
    <p:sldLayoutId id="2147483960" r:id="rId7"/>
    <p:sldLayoutId id="2147483961" r:id="rId8"/>
    <p:sldLayoutId id="2147483962" r:id="rId9"/>
    <p:sldLayoutId id="2147483963" r:id="rId10"/>
    <p:sldLayoutId id="2147483964" r:id="rId11"/>
    <p:sldLayoutId id="2147483965" r:id="rId12"/>
    <p:sldLayoutId id="2147483966" r:id="rId13"/>
    <p:sldLayoutId id="2147483967" r:id="rId14"/>
    <p:sldLayoutId id="2147483968" r:id="rId15"/>
    <p:sldLayoutId id="2147483969" r:id="rId16"/>
    <p:sldLayoutId id="2147483970" r:id="rId17"/>
    <p:sldLayoutId id="2147483971" r:id="rId18"/>
    <p:sldLayoutId id="2147483972" r:id="rId19"/>
    <p:sldLayoutId id="2147483973" r:id="rId20"/>
    <p:sldLayoutId id="2147483974" r:id="rId21"/>
    <p:sldLayoutId id="2147483975" r:id="rId22"/>
    <p:sldLayoutId id="2147483976" r:id="rId23"/>
    <p:sldLayoutId id="2147483977" r:id="rId24"/>
    <p:sldLayoutId id="2147483978" r:id="rId25"/>
    <p:sldLayoutId id="2147483979" r:id="rId26"/>
    <p:sldLayoutId id="2147483980" r:id="rId27"/>
    <p:sldLayoutId id="2147483981" r:id="rId28"/>
    <p:sldLayoutId id="2147483982" r:id="rId29"/>
    <p:sldLayoutId id="2147483983" r:id="rId30"/>
    <p:sldLayoutId id="2147483984" r:id="rId31"/>
    <p:sldLayoutId id="2147483985" r:id="rId32"/>
    <p:sldLayoutId id="2147483986" r:id="rId33"/>
    <p:sldLayoutId id="2147483987" r:id="rId34"/>
    <p:sldLayoutId id="2147483988" r:id="rId35"/>
    <p:sldLayoutId id="2147483989" r:id="rId36"/>
    <p:sldLayoutId id="2147483990" r:id="rId37"/>
    <p:sldLayoutId id="2147483991" r:id="rId38"/>
    <p:sldLayoutId id="2147483992" r:id="rId39"/>
    <p:sldLayoutId id="2147483993" r:id="rId40"/>
    <p:sldLayoutId id="2147483994" r:id="rId41"/>
    <p:sldLayoutId id="2147483995" r:id="rId42"/>
    <p:sldLayoutId id="2147483996" r:id="rId43"/>
    <p:sldLayoutId id="2147483997" r:id="rId44"/>
    <p:sldLayoutId id="2147483998" r:id="rId45"/>
    <p:sldLayoutId id="2147484001" r:id="rId46"/>
    <p:sldLayoutId id="2147484002" r:id="rId47"/>
    <p:sldLayoutId id="2147484003" r:id="rId48"/>
    <p:sldLayoutId id="2147484004" r:id="rId49"/>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44" pos="5098" userDrawn="1">
          <p15:clr>
            <a:srgbClr val="F26B43"/>
          </p15:clr>
        </p15:guide>
        <p15:guide id="45" orient="horz" pos="2160" userDrawn="1">
          <p15:clr>
            <a:srgbClr val="F26B43"/>
          </p15:clr>
        </p15:guide>
        <p15:guide id="46" orient="horz" pos="3968" userDrawn="1">
          <p15:clr>
            <a:srgbClr val="F26B43"/>
          </p15:clr>
        </p15:guide>
        <p15:guide id="47" pos="312" userDrawn="1">
          <p15:clr>
            <a:srgbClr val="F26B43"/>
          </p15:clr>
        </p15:guide>
        <p15:guide id="48" pos="7368" userDrawn="1">
          <p15:clr>
            <a:srgbClr val="F26B43"/>
          </p15:clr>
        </p15:guide>
        <p15:guide id="49" orient="horz" pos="245" userDrawn="1">
          <p15:clr>
            <a:srgbClr val="F26B43"/>
          </p15:clr>
        </p15:guide>
        <p15:guide id="50" orient="horz" pos="4081" userDrawn="1">
          <p15:clr>
            <a:srgbClr val="F26B43"/>
          </p15:clr>
        </p15:guide>
        <p15:guide id="51" pos="4986" userDrawn="1">
          <p15:clr>
            <a:srgbClr val="F26B43"/>
          </p15:clr>
        </p15:guide>
        <p15:guide id="52" pos="1382" userDrawn="1">
          <p15:clr>
            <a:srgbClr val="F26B43"/>
          </p15:clr>
        </p15:guide>
        <p15:guide id="53" pos="1496" userDrawn="1">
          <p15:clr>
            <a:srgbClr val="F26B43"/>
          </p15:clr>
        </p15:guide>
        <p15:guide id="54" pos="2581" userDrawn="1">
          <p15:clr>
            <a:srgbClr val="F26B43"/>
          </p15:clr>
        </p15:guide>
        <p15:guide id="55" pos="2695" userDrawn="1">
          <p15:clr>
            <a:srgbClr val="F26B43"/>
          </p15:clr>
        </p15:guide>
        <p15:guide id="56" pos="6185" userDrawn="1">
          <p15:clr>
            <a:srgbClr val="F26B43"/>
          </p15:clr>
        </p15:guide>
        <p15:guide id="57" pos="3783" userDrawn="1">
          <p15:clr>
            <a:srgbClr val="F26B43"/>
          </p15:clr>
        </p15:guide>
        <p15:guide id="58" pos="3896" userDrawn="1">
          <p15:clr>
            <a:srgbClr val="F26B43"/>
          </p15:clr>
        </p15:guide>
        <p15:guide id="59" pos="3840" userDrawn="1">
          <p15:clr>
            <a:srgbClr val="F26B43"/>
          </p15:clr>
        </p15:guide>
        <p15:guide id="60" pos="6299" userDrawn="1">
          <p15:clr>
            <a:srgbClr val="F26B43"/>
          </p15:clr>
        </p15:guide>
        <p15:guide id="61" orient="horz" pos="1049" userDrawn="1">
          <p15:clr>
            <a:srgbClr val="F26B43"/>
          </p15:clr>
        </p15:guide>
        <p15:guide id="62" orient="horz" pos="641" userDrawn="1">
          <p15:clr>
            <a:srgbClr val="F26B43"/>
          </p15:clr>
        </p15:guide>
        <p15:guide id="63" orient="horz" pos="288"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customXml" Target="../../customXml/item14.xml"/><Relationship Id="rId1" Type="http://schemas.openxmlformats.org/officeDocument/2006/relationships/customXml" Target="../../customXml/item8.xml"/><Relationship Id="rId6" Type="http://schemas.openxmlformats.org/officeDocument/2006/relationships/image" Target="../media/image2.png"/><Relationship Id="rId5" Type="http://schemas.openxmlformats.org/officeDocument/2006/relationships/notesSlide" Target="../notesSlides/notesSlide1.xml"/><Relationship Id="rId4" Type="http://schemas.openxmlformats.org/officeDocument/2006/relationships/slideLayout" Target="../slideLayouts/slideLayout48.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3.xml"/><Relationship Id="rId1" Type="http://schemas.openxmlformats.org/officeDocument/2006/relationships/slideLayout" Target="../slideLayouts/slideLayout15.xml"/><Relationship Id="rId4" Type="http://schemas.openxmlformats.org/officeDocument/2006/relationships/chart" Target="../charts/chart7.xml"/></Relationships>
</file>

<file path=ppt/slides/_rels/slide11.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notesSlide" Target="../notesSlides/notesSlide4.xml"/><Relationship Id="rId4"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5.xml"/><Relationship Id="rId4"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6.xml"/><Relationship Id="rId2" Type="http://schemas.openxmlformats.org/officeDocument/2006/relationships/customXml" Target="../../customXml/item10.xml"/><Relationship Id="rId1" Type="http://schemas.openxmlformats.org/officeDocument/2006/relationships/customXml" Target="../../customXml/item1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6.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2.xml"/><Relationship Id="rId1" Type="http://schemas.openxmlformats.org/officeDocument/2006/relationships/slideLayout" Target="../slideLayouts/slideLayout15.xml"/><Relationship Id="rId4" Type="http://schemas.openxmlformats.org/officeDocument/2006/relationships/chart" Target="../charts/char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7">
            <a:extLst>
              <a:ext uri="{FF2B5EF4-FFF2-40B4-BE49-F238E27FC236}">
                <a16:creationId xmlns:a16="http://schemas.microsoft.com/office/drawing/2014/main" id="{EFEED8B0-437F-4E68-99F8-C1A906825A61}"/>
              </a:ext>
            </a:extLst>
          </p:cNvPr>
          <p:cNvPicPr>
            <a:picLocks noChangeAspect="1"/>
          </p:cNvPicPr>
          <p:nvPr>
            <p:custDataLst>
              <p:tags r:id="rId3"/>
            </p:custDataLst>
          </p:nvPr>
        </p:nvPicPr>
        <p:blipFill rotWithShape="1">
          <a:blip r:embed="rId6" cstate="print">
            <a:extLst>
              <a:ext uri="{28A0092B-C50C-407E-A947-70E740481C1C}">
                <a14:useLocalDpi xmlns:a14="http://schemas.microsoft.com/office/drawing/2010/main"/>
              </a:ext>
            </a:extLst>
          </a:blip>
          <a:srcRect l="369" r="644"/>
          <a:stretch/>
        </p:blipFill>
        <p:spPr>
          <a:xfrm>
            <a:off x="3803650" y="1201699"/>
            <a:ext cx="4584700" cy="3984508"/>
          </a:xfrm>
          <a:prstGeom prst="rect">
            <a:avLst/>
          </a:prstGeom>
        </p:spPr>
      </p:pic>
      <p:sp>
        <p:nvSpPr>
          <p:cNvPr id="4" name="Title 3">
            <a:extLst>
              <a:ext uri="{FF2B5EF4-FFF2-40B4-BE49-F238E27FC236}">
                <a16:creationId xmlns:a16="http://schemas.microsoft.com/office/drawing/2014/main" id="{889C3B06-0C7A-48E7-B867-B80CED67201D}"/>
              </a:ext>
            </a:extLst>
          </p:cNvPr>
          <p:cNvSpPr>
            <a:spLocks noGrp="1"/>
          </p:cNvSpPr>
          <p:nvPr>
            <p:ph type="ctrTitle"/>
          </p:nvPr>
        </p:nvSpPr>
        <p:spPr>
          <a:xfrm>
            <a:off x="501651" y="5219067"/>
            <a:ext cx="7007187" cy="895983"/>
          </a:xfrm>
        </p:spPr>
        <p:txBody>
          <a:bodyPr anchor="b"/>
          <a:lstStyle/>
          <a:p>
            <a:r>
              <a:rPr lang="en-GB"/>
              <a:t>A clear perspective</a:t>
            </a:r>
            <a:br>
              <a:rPr lang="en-GB"/>
            </a:br>
            <a:r>
              <a:rPr lang="en-GB">
                <a:solidFill>
                  <a:schemeClr val="tx1"/>
                </a:solidFill>
              </a:rPr>
              <a:t>Water Workforce analysis presentation</a:t>
            </a:r>
            <a:endParaRPr lang="en-GB" b="1" dirty="0">
              <a:solidFill>
                <a:schemeClr val="tx1"/>
              </a:solidFill>
            </a:endParaRPr>
          </a:p>
        </p:txBody>
      </p:sp>
      <p:sp>
        <p:nvSpPr>
          <p:cNvPr id="24" name="Text Placeholder 14">
            <a:extLst>
              <a:ext uri="{FF2B5EF4-FFF2-40B4-BE49-F238E27FC236}">
                <a16:creationId xmlns:a16="http://schemas.microsoft.com/office/drawing/2014/main" id="{02B7F94C-2AF3-154F-BB17-F9CECB7C5F24}"/>
              </a:ext>
            </a:extLst>
          </p:cNvPr>
          <p:cNvSpPr>
            <a:spLocks noGrp="1"/>
          </p:cNvSpPr>
          <p:nvPr>
            <p:ph type="body" sz="quarter" idx="10"/>
          </p:nvPr>
        </p:nvSpPr>
        <p:spPr>
          <a:xfrm>
            <a:off x="501651" y="6303851"/>
            <a:ext cx="8175624" cy="273050"/>
          </a:xfrm>
        </p:spPr>
        <p:txBody>
          <a:bodyPr/>
          <a:lstStyle/>
          <a:p>
            <a:r>
              <a:rPr lang="en-GB" b="0" dirty="0">
                <a:latin typeface="+mn-lt"/>
              </a:rPr>
              <a:t>18</a:t>
            </a:r>
            <a:r>
              <a:rPr lang="en-GB" b="0" baseline="30000" dirty="0">
                <a:latin typeface="+mn-lt"/>
              </a:rPr>
              <a:t>th</a:t>
            </a:r>
            <a:r>
              <a:rPr lang="en-GB" b="0" dirty="0">
                <a:latin typeface="+mn-lt"/>
              </a:rPr>
              <a:t> October 2022 </a:t>
            </a:r>
            <a:r>
              <a:rPr lang="en-GB" dirty="0">
                <a:latin typeface="+mn-lt"/>
              </a:rPr>
              <a:t>| Commercial in Confidence</a:t>
            </a:r>
            <a:endParaRPr lang="en-GB" dirty="0"/>
          </a:p>
        </p:txBody>
      </p:sp>
      <p:pic>
        <p:nvPicPr>
          <p:cNvPr id="7" name="Picture 8">
            <a:extLst>
              <a:ext uri="{FF2B5EF4-FFF2-40B4-BE49-F238E27FC236}">
                <a16:creationId xmlns:a16="http://schemas.microsoft.com/office/drawing/2014/main" id="{1B38F784-AF94-6F48-955E-73FB5ADD50D2}"/>
              </a:ext>
            </a:extLst>
          </p:cNvPr>
          <p:cNvPicPr>
            <a:picLocks noChangeAspect="1"/>
          </p:cNvPicPr>
          <p:nvPr/>
        </p:nvPicPr>
        <p:blipFill>
          <a:blip r:embed="rId7" cstate="print">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10602032" y="5587478"/>
            <a:ext cx="1120672" cy="989423"/>
          </a:xfrm>
          <a:prstGeom prst="rect">
            <a:avLst/>
          </a:prstGeom>
        </p:spPr>
      </p:pic>
    </p:spTree>
    <p:custDataLst>
      <p:custData r:id="rId1"/>
      <p:custData r:id="rId2"/>
    </p:custDataLst>
    <p:extLst>
      <p:ext uri="{BB962C8B-B14F-4D97-AF65-F5344CB8AC3E}">
        <p14:creationId xmlns:p14="http://schemas.microsoft.com/office/powerpoint/2010/main" val="323229655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E9FCB7-B3EE-4876-B4D9-896D077CAB28}"/>
              </a:ext>
            </a:extLst>
          </p:cNvPr>
          <p:cNvSpPr>
            <a:spLocks noGrp="1"/>
          </p:cNvSpPr>
          <p:nvPr>
            <p:ph type="title"/>
          </p:nvPr>
        </p:nvSpPr>
        <p:spPr/>
        <p:txBody>
          <a:bodyPr/>
          <a:lstStyle/>
          <a:p>
            <a:r>
              <a:rPr lang="en-NZ" dirty="0"/>
              <a:t>Workforce estimate by major role types</a:t>
            </a:r>
          </a:p>
        </p:txBody>
      </p:sp>
      <p:sp>
        <p:nvSpPr>
          <p:cNvPr id="8" name="Text Placeholder 24">
            <a:extLst>
              <a:ext uri="{FF2B5EF4-FFF2-40B4-BE49-F238E27FC236}">
                <a16:creationId xmlns:a16="http://schemas.microsoft.com/office/drawing/2014/main" id="{1161C757-A6AB-4837-B442-E10898C62243}"/>
              </a:ext>
            </a:extLst>
          </p:cNvPr>
          <p:cNvSpPr>
            <a:spLocks noGrp="1"/>
          </p:cNvSpPr>
          <p:nvPr>
            <p:ph type="body" sz="quarter" idx="13"/>
          </p:nvPr>
        </p:nvSpPr>
        <p:spPr>
          <a:xfrm>
            <a:off x="501650" y="651600"/>
            <a:ext cx="11188700" cy="757255"/>
          </a:xfrm>
        </p:spPr>
        <p:txBody>
          <a:bodyPr/>
          <a:lstStyle/>
          <a:p>
            <a:pPr marL="16267" marR="6509">
              <a:lnSpc>
                <a:spcPct val="107100"/>
              </a:lnSpc>
              <a:spcBef>
                <a:spcPts val="128"/>
              </a:spcBef>
            </a:pPr>
            <a:r>
              <a:rPr lang="en-NZ" sz="1800" spc="-30" dirty="0">
                <a:latin typeface="Calibri Light" panose="020F0302020204030204" pitchFamily="34" charset="0"/>
              </a:rPr>
              <a:t>The modelling results can also be presented based on role type</a:t>
            </a:r>
          </a:p>
        </p:txBody>
      </p:sp>
      <p:graphicFrame>
        <p:nvGraphicFramePr>
          <p:cNvPr id="13" name="Chart 12">
            <a:extLst>
              <a:ext uri="{FF2B5EF4-FFF2-40B4-BE49-F238E27FC236}">
                <a16:creationId xmlns:a16="http://schemas.microsoft.com/office/drawing/2014/main" id="{32219498-EA6E-48A7-A89F-19F5AA0A7159}"/>
              </a:ext>
            </a:extLst>
          </p:cNvPr>
          <p:cNvGraphicFramePr>
            <a:graphicFrameLocks/>
          </p:cNvGraphicFramePr>
          <p:nvPr/>
        </p:nvGraphicFramePr>
        <p:xfrm>
          <a:off x="495300" y="1557338"/>
          <a:ext cx="5040000" cy="396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a:extLst>
              <a:ext uri="{FF2B5EF4-FFF2-40B4-BE49-F238E27FC236}">
                <a16:creationId xmlns:a16="http://schemas.microsoft.com/office/drawing/2014/main" id="{1A339C1F-74E0-4D98-BD1D-260591186D91}"/>
              </a:ext>
            </a:extLst>
          </p:cNvPr>
          <p:cNvGraphicFramePr>
            <a:graphicFrameLocks/>
          </p:cNvGraphicFramePr>
          <p:nvPr/>
        </p:nvGraphicFramePr>
        <p:xfrm>
          <a:off x="6275772" y="1557338"/>
          <a:ext cx="5040000" cy="3960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a:extLst>
              <a:ext uri="{FF2B5EF4-FFF2-40B4-BE49-F238E27FC236}">
                <a16:creationId xmlns:a16="http://schemas.microsoft.com/office/drawing/2014/main" id="{0186419B-8A2B-4032-93EF-D28151B8C2C2}"/>
              </a:ext>
            </a:extLst>
          </p:cNvPr>
          <p:cNvSpPr txBox="1"/>
          <p:nvPr/>
        </p:nvSpPr>
        <p:spPr>
          <a:xfrm>
            <a:off x="4662488" y="4748601"/>
            <a:ext cx="1539767" cy="369332"/>
          </a:xfrm>
          <a:prstGeom prst="rect">
            <a:avLst/>
          </a:prstGeom>
          <a:noFill/>
        </p:spPr>
        <p:txBody>
          <a:bodyPr wrap="square">
            <a:spAutoFit/>
          </a:bodyPr>
          <a:lstStyle/>
          <a:p>
            <a:r>
              <a:rPr lang="en-NZ" sz="1800" dirty="0">
                <a:latin typeface="+mj-lt"/>
              </a:rPr>
              <a:t>15,400 FTEs</a:t>
            </a:r>
            <a:endParaRPr lang="en-NZ" dirty="0"/>
          </a:p>
        </p:txBody>
      </p:sp>
      <p:sp>
        <p:nvSpPr>
          <p:cNvPr id="16" name="TextBox 15">
            <a:extLst>
              <a:ext uri="{FF2B5EF4-FFF2-40B4-BE49-F238E27FC236}">
                <a16:creationId xmlns:a16="http://schemas.microsoft.com/office/drawing/2014/main" id="{75E85A63-044B-4144-8EE0-244E13C9834F}"/>
              </a:ext>
            </a:extLst>
          </p:cNvPr>
          <p:cNvSpPr txBox="1"/>
          <p:nvPr/>
        </p:nvSpPr>
        <p:spPr>
          <a:xfrm>
            <a:off x="10749944" y="4748601"/>
            <a:ext cx="1539767" cy="369332"/>
          </a:xfrm>
          <a:prstGeom prst="rect">
            <a:avLst/>
          </a:prstGeom>
          <a:noFill/>
        </p:spPr>
        <p:txBody>
          <a:bodyPr wrap="square">
            <a:spAutoFit/>
          </a:bodyPr>
          <a:lstStyle/>
          <a:p>
            <a:r>
              <a:rPr lang="en-NZ" sz="1800" dirty="0">
                <a:latin typeface="+mj-lt"/>
              </a:rPr>
              <a:t>26,900 FTEs</a:t>
            </a:r>
            <a:endParaRPr lang="en-NZ" dirty="0"/>
          </a:p>
        </p:txBody>
      </p:sp>
    </p:spTree>
    <p:extLst>
      <p:ext uri="{BB962C8B-B14F-4D97-AF65-F5344CB8AC3E}">
        <p14:creationId xmlns:p14="http://schemas.microsoft.com/office/powerpoint/2010/main" val="371875984"/>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D3D4A95-D44A-71B9-E998-333AAEAD2BAD}"/>
              </a:ext>
            </a:extLst>
          </p:cNvPr>
          <p:cNvSpPr/>
          <p:nvPr/>
        </p:nvSpPr>
        <p:spPr bwMode="gray">
          <a:xfrm>
            <a:off x="7445375" y="1576961"/>
            <a:ext cx="4251623" cy="758269"/>
          </a:xfrm>
          <a:prstGeom prst="rect">
            <a:avLst/>
          </a:prstGeom>
          <a:solidFill>
            <a:schemeClr val="accent6">
              <a:lumMod val="20000"/>
              <a:lumOff val="80000"/>
              <a:alpha val="73075"/>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0" name="Rectangle 9">
            <a:extLst>
              <a:ext uri="{FF2B5EF4-FFF2-40B4-BE49-F238E27FC236}">
                <a16:creationId xmlns:a16="http://schemas.microsoft.com/office/drawing/2014/main" id="{0BD7C4CA-90A7-68B5-433E-C5D8FE2733DA}"/>
              </a:ext>
            </a:extLst>
          </p:cNvPr>
          <p:cNvSpPr/>
          <p:nvPr/>
        </p:nvSpPr>
        <p:spPr bwMode="gray">
          <a:xfrm>
            <a:off x="3149264" y="1576961"/>
            <a:ext cx="4296111" cy="747422"/>
          </a:xfrm>
          <a:prstGeom prst="rect">
            <a:avLst/>
          </a:prstGeom>
          <a:solidFill>
            <a:srgbClr val="DDEFE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aphicFrame>
        <p:nvGraphicFramePr>
          <p:cNvPr id="5" name="Object 4" hidden="1"/>
          <p:cNvGraphicFramePr>
            <a:graphicFrameLocks noChangeAspect="1"/>
          </p:cNvGraphicFramePr>
          <p:nvPr>
            <p:custDataLst>
              <p:tags r:id="rId2"/>
            </p:custDataLst>
          </p:nvPr>
        </p:nvGraphicFramePr>
        <p:xfrm>
          <a:off x="1247731" y="1441"/>
          <a:ext cx="1441" cy="1441"/>
        </p:xfrm>
        <a:graphic>
          <a:graphicData uri="http://schemas.openxmlformats.org/presentationml/2006/ole">
            <mc:AlternateContent xmlns:mc="http://schemas.openxmlformats.org/markup-compatibility/2006">
              <mc:Choice xmlns:v="urn:schemas-microsoft-com:vml" Requires="v">
                <p:oleObj spid="_x0000_s3081" name="think-cell Slide" r:id="rId6" imgW="355" imgH="356" progId="TCLayout.ActiveDocument.1">
                  <p:embed/>
                </p:oleObj>
              </mc:Choice>
              <mc:Fallback>
                <p:oleObj name="think-cell Slide" r:id="rId6" imgW="355" imgH="356" progId="TCLayout.ActiveDocument.1">
                  <p:embed/>
                  <p:pic>
                    <p:nvPicPr>
                      <p:cNvPr id="5" name="Object 4" hidden="1"/>
                      <p:cNvPicPr/>
                      <p:nvPr/>
                    </p:nvPicPr>
                    <p:blipFill>
                      <a:blip r:embed="rId7"/>
                      <a:stretch>
                        <a:fillRect/>
                      </a:stretch>
                    </p:blipFill>
                    <p:spPr>
                      <a:xfrm>
                        <a:off x="1247731" y="1441"/>
                        <a:ext cx="1441" cy="1441"/>
                      </a:xfrm>
                      <a:prstGeom prst="rect">
                        <a:avLst/>
                      </a:prstGeom>
                    </p:spPr>
                  </p:pic>
                </p:oleObj>
              </mc:Fallback>
            </mc:AlternateContent>
          </a:graphicData>
        </a:graphic>
      </p:graphicFrame>
      <p:sp>
        <p:nvSpPr>
          <p:cNvPr id="4" name="Rectangle 3" hidden="1"/>
          <p:cNvSpPr/>
          <p:nvPr>
            <p:custDataLst>
              <p:tags r:id="rId3"/>
            </p:custDataLst>
          </p:nvPr>
        </p:nvSpPr>
        <p:spPr>
          <a:xfrm>
            <a:off x="1246291" y="1"/>
            <a:ext cx="144015" cy="1440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6" name="Title 5"/>
          <p:cNvSpPr>
            <a:spLocks noGrp="1"/>
          </p:cNvSpPr>
          <p:nvPr>
            <p:ph type="title"/>
          </p:nvPr>
        </p:nvSpPr>
        <p:spPr/>
        <p:txBody>
          <a:bodyPr vert="horz" lIns="0" tIns="0" rIns="0" bIns="0" rtlCol="0" anchor="t" anchorCtr="0">
            <a:noAutofit/>
          </a:bodyPr>
          <a:lstStyle/>
          <a:p>
            <a:r>
              <a:rPr lang="en-GB" b="1" dirty="0">
                <a:latin typeface="Calibri Light" panose="020F0302020204030204" pitchFamily="34" charset="0"/>
              </a:rPr>
              <a:t>Overview of Water Services Chain – Capex and Opex</a:t>
            </a:r>
          </a:p>
        </p:txBody>
      </p:sp>
      <p:sp>
        <p:nvSpPr>
          <p:cNvPr id="13" name="Text Placeholder 12">
            <a:extLst>
              <a:ext uri="{FF2B5EF4-FFF2-40B4-BE49-F238E27FC236}">
                <a16:creationId xmlns:a16="http://schemas.microsoft.com/office/drawing/2014/main" id="{033AF176-C561-4179-A526-F72B3C841071}"/>
              </a:ext>
            </a:extLst>
          </p:cNvPr>
          <p:cNvSpPr>
            <a:spLocks noGrp="1"/>
          </p:cNvSpPr>
          <p:nvPr>
            <p:ph type="body" sz="quarter" idx="13"/>
          </p:nvPr>
        </p:nvSpPr>
        <p:spPr/>
        <p:txBody>
          <a:bodyPr vert="horz" lIns="0" tIns="0" rIns="0" bIns="0" rtlCol="0">
            <a:noAutofit/>
          </a:bodyPr>
          <a:lstStyle/>
          <a:p>
            <a:pPr marL="16267" marR="6509">
              <a:lnSpc>
                <a:spcPct val="107100"/>
              </a:lnSpc>
              <a:spcBef>
                <a:spcPts val="128"/>
              </a:spcBef>
            </a:pPr>
            <a:r>
              <a:rPr lang="en-GB" spc="-30" dirty="0">
                <a:latin typeface="Calibri Light" panose="020F0302020204030204" pitchFamily="34" charset="0"/>
              </a:rPr>
              <a:t>The water supply chain comprises a mix of materials, plant and equipment and labour. </a:t>
            </a:r>
          </a:p>
        </p:txBody>
      </p:sp>
      <p:sp>
        <p:nvSpPr>
          <p:cNvPr id="22" name="TextBox 21">
            <a:extLst>
              <a:ext uri="{FF2B5EF4-FFF2-40B4-BE49-F238E27FC236}">
                <a16:creationId xmlns:a16="http://schemas.microsoft.com/office/drawing/2014/main" id="{210DF9CA-C541-4254-8EAB-4060BB236902}"/>
              </a:ext>
            </a:extLst>
          </p:cNvPr>
          <p:cNvSpPr txBox="1"/>
          <p:nvPr/>
        </p:nvSpPr>
        <p:spPr>
          <a:xfrm>
            <a:off x="495002" y="1555990"/>
            <a:ext cx="1998344" cy="1884344"/>
          </a:xfrm>
          <a:prstGeom prst="rect">
            <a:avLst/>
          </a:prstGeom>
          <a:noFill/>
          <a:ln w="19050">
            <a:solidFill>
              <a:srgbClr val="749792"/>
            </a:solidFill>
            <a:prstDash val="dash"/>
          </a:ln>
        </p:spPr>
        <p:txBody>
          <a:bodyPr vert="horz" wrap="square" lIns="72000" tIns="72000" rIns="72000" bIns="72000" rtlCol="0" anchor="t">
            <a:spAutoFit/>
          </a:bodyPr>
          <a:lstStyle/>
          <a:p>
            <a:pPr>
              <a:spcAft>
                <a:spcPts val="600"/>
              </a:spcAft>
            </a:pPr>
            <a:r>
              <a:rPr lang="en-GB" sz="1100" b="1">
                <a:latin typeface="+mj-lt"/>
                <a:cs typeface="Segoe UI Light"/>
              </a:rPr>
              <a:t>Capital Expenditure typically involves a mix of:</a:t>
            </a:r>
          </a:p>
          <a:p>
            <a:pPr marL="171450" indent="-171450">
              <a:spcAft>
                <a:spcPts val="600"/>
              </a:spcAft>
              <a:buFont typeface="Arial" panose="020B0604020202020204" pitchFamily="34" charset="0"/>
              <a:buChar char="•"/>
            </a:pPr>
            <a:r>
              <a:rPr lang="en-GB" sz="1100">
                <a:solidFill>
                  <a:srgbClr val="000000"/>
                </a:solidFill>
                <a:latin typeface="+mj-lt"/>
                <a:cs typeface="Segoe UI Light"/>
              </a:rPr>
              <a:t>Simple renewals</a:t>
            </a:r>
          </a:p>
          <a:p>
            <a:pPr marL="171450" indent="-171450">
              <a:spcAft>
                <a:spcPts val="600"/>
              </a:spcAft>
              <a:buFont typeface="Arial" panose="020B0604020202020204" pitchFamily="34" charset="0"/>
              <a:buChar char="•"/>
            </a:pPr>
            <a:r>
              <a:rPr lang="en-GB" sz="1100">
                <a:solidFill>
                  <a:srgbClr val="000000"/>
                </a:solidFill>
                <a:latin typeface="+mj-lt"/>
                <a:cs typeface="Segoe UI Light"/>
              </a:rPr>
              <a:t>Complex renewals</a:t>
            </a:r>
          </a:p>
          <a:p>
            <a:pPr marL="171450" indent="-171450">
              <a:spcAft>
                <a:spcPts val="600"/>
              </a:spcAft>
              <a:buFont typeface="Arial" panose="020B0604020202020204" pitchFamily="34" charset="0"/>
              <a:buChar char="•"/>
            </a:pPr>
            <a:r>
              <a:rPr lang="en-GB" sz="1100">
                <a:solidFill>
                  <a:srgbClr val="000000"/>
                </a:solidFill>
                <a:latin typeface="+mj-lt"/>
                <a:cs typeface="Segoe UI Light"/>
              </a:rPr>
              <a:t>Pump stations / Treatment station upgrades</a:t>
            </a:r>
          </a:p>
          <a:p>
            <a:pPr marL="171450" indent="-171450">
              <a:spcAft>
                <a:spcPts val="600"/>
              </a:spcAft>
              <a:buFont typeface="Arial" panose="020B0604020202020204" pitchFamily="34" charset="0"/>
              <a:buChar char="•"/>
            </a:pPr>
            <a:r>
              <a:rPr lang="en-GB" sz="1100">
                <a:solidFill>
                  <a:srgbClr val="000000"/>
                </a:solidFill>
                <a:latin typeface="+mj-lt"/>
                <a:cs typeface="Segoe UI Light"/>
              </a:rPr>
              <a:t>Reservoir upgrades</a:t>
            </a:r>
          </a:p>
          <a:p>
            <a:pPr marL="171450" indent="-171450">
              <a:spcAft>
                <a:spcPts val="600"/>
              </a:spcAft>
              <a:buFont typeface="Arial" panose="020B0604020202020204" pitchFamily="34" charset="0"/>
              <a:buChar char="•"/>
            </a:pPr>
            <a:r>
              <a:rPr lang="en-GB" sz="1100">
                <a:solidFill>
                  <a:srgbClr val="000000"/>
                </a:solidFill>
                <a:latin typeface="+mj-lt"/>
                <a:cs typeface="Segoe UI Light"/>
              </a:rPr>
              <a:t>Major projects</a:t>
            </a:r>
            <a:endParaRPr lang="en-GB" sz="1100" dirty="0">
              <a:solidFill>
                <a:srgbClr val="000000"/>
              </a:solidFill>
              <a:latin typeface="+mj-lt"/>
              <a:cs typeface="Segoe UI Light"/>
            </a:endParaRPr>
          </a:p>
        </p:txBody>
      </p:sp>
      <p:graphicFrame>
        <p:nvGraphicFramePr>
          <p:cNvPr id="23" name="Table 22"/>
          <p:cNvGraphicFramePr>
            <a:graphicFrameLocks noGrp="1"/>
          </p:cNvGraphicFramePr>
          <p:nvPr>
            <p:extLst>
              <p:ext uri="{D42A27DB-BD31-4B8C-83A1-F6EECF244321}">
                <p14:modId xmlns:p14="http://schemas.microsoft.com/office/powerpoint/2010/main" val="45415446"/>
              </p:ext>
            </p:extLst>
          </p:nvPr>
        </p:nvGraphicFramePr>
        <p:xfrm>
          <a:off x="3149264" y="3029833"/>
          <a:ext cx="2127600" cy="2779013"/>
        </p:xfrm>
        <a:graphic>
          <a:graphicData uri="http://schemas.openxmlformats.org/drawingml/2006/table">
            <a:tbl>
              <a:tblPr firstRow="1" bandRow="1">
                <a:tableStyleId>{5C22544A-7EE6-4342-B048-85BDC9FD1C3A}</a:tableStyleId>
              </a:tblPr>
              <a:tblGrid>
                <a:gridCol w="2127600">
                  <a:extLst>
                    <a:ext uri="{9D8B030D-6E8A-4147-A177-3AD203B41FA5}">
                      <a16:colId xmlns:a16="http://schemas.microsoft.com/office/drawing/2014/main" val="1402600695"/>
                    </a:ext>
                  </a:extLst>
                </a:gridCol>
              </a:tblGrid>
              <a:tr h="471584">
                <a:tc>
                  <a:txBody>
                    <a:bodyPr/>
                    <a:lstStyle/>
                    <a:p>
                      <a:pPr algn="l"/>
                      <a:r>
                        <a:rPr lang="en-NZ" sz="1100" b="1" dirty="0">
                          <a:solidFill>
                            <a:schemeClr val="tx1"/>
                          </a:solidFill>
                          <a:latin typeface="+mj-lt"/>
                          <a:cs typeface="Segoe UI Light"/>
                        </a:rPr>
                        <a:t>Water Entity</a:t>
                      </a:r>
                      <a:r>
                        <a:rPr lang="en-NZ" sz="1100" b="1" baseline="0" dirty="0">
                          <a:solidFill>
                            <a:schemeClr val="tx1"/>
                          </a:solidFill>
                          <a:latin typeface="+mj-lt"/>
                          <a:cs typeface="Segoe UI Light"/>
                        </a:rPr>
                        <a:t> / Consultants</a:t>
                      </a:r>
                    </a:p>
                    <a:p>
                      <a:pPr algn="l"/>
                      <a:r>
                        <a:rPr lang="en-NZ" sz="1100" b="0" i="0" baseline="0" dirty="0">
                          <a:solidFill>
                            <a:schemeClr val="tx1"/>
                          </a:solidFill>
                          <a:latin typeface="+mj-lt"/>
                          <a:cs typeface="Segoe UI Light"/>
                        </a:rPr>
                        <a:t>Makeup of workforce</a:t>
                      </a:r>
                      <a:endParaRPr lang="en-NZ" sz="1100" b="0" i="0" dirty="0">
                        <a:solidFill>
                          <a:schemeClr val="tx1"/>
                        </a:solidFill>
                        <a:latin typeface="+mj-lt"/>
                        <a:cs typeface="Segoe UI Ligh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rgbClr val="004F5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90656547"/>
                  </a:ext>
                </a:extLst>
              </a:tr>
              <a:tr h="302879">
                <a:tc>
                  <a:txBody>
                    <a:bodyPr/>
                    <a:lstStyle/>
                    <a:p>
                      <a:pPr algn="l" fontAlgn="b"/>
                      <a:r>
                        <a:rPr lang="en-NZ" sz="1100" b="0" i="0" u="none" strike="noStrike" dirty="0">
                          <a:solidFill>
                            <a:srgbClr val="000000"/>
                          </a:solidFill>
                          <a:effectLst/>
                          <a:latin typeface="+mj-lt"/>
                          <a:cs typeface="Segoe UI Light"/>
                        </a:rPr>
                        <a:t>Graduate Engineer</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5645994"/>
                  </a:ext>
                </a:extLst>
              </a:tr>
              <a:tr h="302879">
                <a:tc>
                  <a:txBody>
                    <a:bodyPr/>
                    <a:lstStyle/>
                    <a:p>
                      <a:pPr algn="l" fontAlgn="b"/>
                      <a:r>
                        <a:rPr lang="en-NZ" sz="1100" b="0" i="0" u="none" strike="noStrike" dirty="0">
                          <a:solidFill>
                            <a:srgbClr val="000000"/>
                          </a:solidFill>
                          <a:effectLst/>
                          <a:latin typeface="+mj-lt"/>
                          <a:cs typeface="Segoe UI Light"/>
                        </a:rPr>
                        <a:t>Engineers</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8260322"/>
                  </a:ext>
                </a:extLst>
              </a:tr>
              <a:tr h="302879">
                <a:tc>
                  <a:txBody>
                    <a:bodyPr/>
                    <a:lstStyle/>
                    <a:p>
                      <a:pPr algn="l" fontAlgn="b"/>
                      <a:r>
                        <a:rPr lang="en-NZ" sz="1100" b="0" i="0" u="none" strike="noStrike" dirty="0">
                          <a:solidFill>
                            <a:srgbClr val="000000"/>
                          </a:solidFill>
                          <a:effectLst/>
                          <a:latin typeface="+mj-lt"/>
                          <a:cs typeface="Segoe UI Light"/>
                        </a:rPr>
                        <a:t>Senior Engineers</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2064982"/>
                  </a:ext>
                </a:extLst>
              </a:tr>
              <a:tr h="466264">
                <a:tc>
                  <a:txBody>
                    <a:bodyPr/>
                    <a:lstStyle/>
                    <a:p>
                      <a:pPr algn="l" fontAlgn="b"/>
                      <a:r>
                        <a:rPr lang="en-NZ" sz="1100" b="0" i="0" u="none" strike="noStrike" dirty="0">
                          <a:solidFill>
                            <a:srgbClr val="000000"/>
                          </a:solidFill>
                          <a:effectLst/>
                          <a:latin typeface="+mj-lt"/>
                          <a:cs typeface="Segoe UI Light"/>
                        </a:rPr>
                        <a:t>Principal Engineers / Senior / Advanced Specialists</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33479477"/>
                  </a:ext>
                </a:extLst>
              </a:tr>
              <a:tr h="466264">
                <a:tc>
                  <a:txBody>
                    <a:bodyPr/>
                    <a:lstStyle/>
                    <a:p>
                      <a:pPr algn="l" fontAlgn="b"/>
                      <a:r>
                        <a:rPr lang="en-NZ" sz="1100" b="0" i="0" u="none" strike="noStrike" dirty="0">
                          <a:solidFill>
                            <a:srgbClr val="000000"/>
                          </a:solidFill>
                          <a:effectLst/>
                          <a:latin typeface="+mj-lt"/>
                          <a:cs typeface="Segoe UI Light"/>
                        </a:rPr>
                        <a:t>Programme Leads / Project Managers</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38531283"/>
                  </a:ext>
                </a:extLst>
              </a:tr>
              <a:tr h="466264">
                <a:tc>
                  <a:txBody>
                    <a:bodyPr/>
                    <a:lstStyle/>
                    <a:p>
                      <a:pPr algn="l" fontAlgn="b"/>
                      <a:r>
                        <a:rPr lang="en-NZ" sz="1100" b="0" i="0" u="none" strike="noStrike" dirty="0">
                          <a:solidFill>
                            <a:srgbClr val="000000"/>
                          </a:solidFill>
                          <a:effectLst/>
                          <a:latin typeface="+mj-lt"/>
                          <a:cs typeface="Segoe UI Light"/>
                        </a:rPr>
                        <a:t>Project Directors / Senior Project Managers</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8862530"/>
                  </a:ext>
                </a:extLst>
              </a:tr>
            </a:tbl>
          </a:graphicData>
        </a:graphic>
      </p:graphicFrame>
      <p:graphicFrame>
        <p:nvGraphicFramePr>
          <p:cNvPr id="3" name="Table 2"/>
          <p:cNvGraphicFramePr>
            <a:graphicFrameLocks noGrp="1"/>
          </p:cNvGraphicFramePr>
          <p:nvPr>
            <p:extLst>
              <p:ext uri="{D42A27DB-BD31-4B8C-83A1-F6EECF244321}">
                <p14:modId xmlns:p14="http://schemas.microsoft.com/office/powerpoint/2010/main" val="1552378208"/>
              </p:ext>
            </p:extLst>
          </p:nvPr>
        </p:nvGraphicFramePr>
        <p:xfrm>
          <a:off x="5542192" y="3029827"/>
          <a:ext cx="2126969" cy="2779014"/>
        </p:xfrm>
        <a:graphic>
          <a:graphicData uri="http://schemas.openxmlformats.org/drawingml/2006/table">
            <a:tbl>
              <a:tblPr firstRow="1" bandRow="1">
                <a:tableStyleId>{5C22544A-7EE6-4342-B048-85BDC9FD1C3A}</a:tableStyleId>
              </a:tblPr>
              <a:tblGrid>
                <a:gridCol w="2126969">
                  <a:extLst>
                    <a:ext uri="{9D8B030D-6E8A-4147-A177-3AD203B41FA5}">
                      <a16:colId xmlns:a16="http://schemas.microsoft.com/office/drawing/2014/main" val="1429765992"/>
                    </a:ext>
                  </a:extLst>
                </a:gridCol>
              </a:tblGrid>
              <a:tr h="472409">
                <a:tc>
                  <a:txBody>
                    <a:bodyPr/>
                    <a:lstStyle/>
                    <a:p>
                      <a:pPr algn="l"/>
                      <a:r>
                        <a:rPr lang="en-NZ" sz="1100" b="1" dirty="0">
                          <a:solidFill>
                            <a:schemeClr val="tx1"/>
                          </a:solidFill>
                          <a:latin typeface="+mj-lt"/>
                          <a:cs typeface="Segoe UI Light"/>
                        </a:rPr>
                        <a:t>Contractors</a:t>
                      </a:r>
                    </a:p>
                    <a:p>
                      <a:pPr algn="l"/>
                      <a:r>
                        <a:rPr lang="en-NZ" sz="1100" b="0" i="0" dirty="0">
                          <a:solidFill>
                            <a:schemeClr val="tx1"/>
                          </a:solidFill>
                          <a:latin typeface="+mj-lt"/>
                          <a:cs typeface="Segoe UI Light"/>
                        </a:rPr>
                        <a:t>Makeup of</a:t>
                      </a:r>
                      <a:r>
                        <a:rPr lang="en-NZ" sz="1100" b="0" i="0" baseline="0" dirty="0">
                          <a:solidFill>
                            <a:schemeClr val="tx1"/>
                          </a:solidFill>
                          <a:latin typeface="+mj-lt"/>
                          <a:cs typeface="Segoe UI Light"/>
                        </a:rPr>
                        <a:t> workforce</a:t>
                      </a:r>
                      <a:endParaRPr lang="en-NZ" sz="1100" b="0" i="0" dirty="0">
                        <a:solidFill>
                          <a:schemeClr val="tx1"/>
                        </a:solidFill>
                        <a:latin typeface="+mj-lt"/>
                        <a:cs typeface="Segoe UI Ligh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rgbClr val="004F59"/>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64037293"/>
                  </a:ext>
                </a:extLst>
              </a:tr>
              <a:tr h="329515">
                <a:tc>
                  <a:txBody>
                    <a:bodyPr/>
                    <a:lstStyle/>
                    <a:p>
                      <a:pPr algn="l" fontAlgn="b"/>
                      <a:r>
                        <a:rPr lang="en-NZ" sz="1100" b="0" i="0" u="none" strike="noStrike" dirty="0">
                          <a:solidFill>
                            <a:srgbClr val="000000"/>
                          </a:solidFill>
                          <a:effectLst/>
                          <a:latin typeface="+mj-lt"/>
                          <a:cs typeface="Segoe UI Light"/>
                        </a:rPr>
                        <a:t>Construction Manager</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55017076"/>
                  </a:ext>
                </a:extLst>
              </a:tr>
              <a:tr h="329515">
                <a:tc>
                  <a:txBody>
                    <a:bodyPr/>
                    <a:lstStyle/>
                    <a:p>
                      <a:pPr algn="l" fontAlgn="b"/>
                      <a:r>
                        <a:rPr lang="en-NZ" sz="1100" b="0" i="0" u="none" strike="noStrike" dirty="0">
                          <a:solidFill>
                            <a:srgbClr val="000000"/>
                          </a:solidFill>
                          <a:effectLst/>
                          <a:latin typeface="+mj-lt"/>
                          <a:cs typeface="Segoe UI Light"/>
                        </a:rPr>
                        <a:t>Construction Supervisor</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97222159"/>
                  </a:ext>
                </a:extLst>
              </a:tr>
              <a:tr h="329515">
                <a:tc>
                  <a:txBody>
                    <a:bodyPr/>
                    <a:lstStyle/>
                    <a:p>
                      <a:pPr algn="l" fontAlgn="b"/>
                      <a:r>
                        <a:rPr lang="en-NZ" sz="1100" b="0" i="0" u="none" strike="noStrike" dirty="0">
                          <a:solidFill>
                            <a:srgbClr val="000000"/>
                          </a:solidFill>
                          <a:effectLst/>
                          <a:latin typeface="+mj-lt"/>
                          <a:cs typeface="Segoe UI Light"/>
                        </a:rPr>
                        <a:t>Technicians</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31878912"/>
                  </a:ext>
                </a:extLst>
              </a:tr>
              <a:tr h="329515">
                <a:tc>
                  <a:txBody>
                    <a:bodyPr/>
                    <a:lstStyle/>
                    <a:p>
                      <a:pPr algn="l" fontAlgn="b"/>
                      <a:r>
                        <a:rPr lang="en-NZ" sz="1100" b="0" i="0" u="none" strike="noStrike" dirty="0">
                          <a:solidFill>
                            <a:srgbClr val="000000"/>
                          </a:solidFill>
                          <a:effectLst/>
                          <a:latin typeface="+mj-lt"/>
                          <a:cs typeface="Segoe UI Light"/>
                        </a:rPr>
                        <a:t>Heavy Vehicle Drivers</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2657742"/>
                  </a:ext>
                </a:extLst>
              </a:tr>
              <a:tr h="329515">
                <a:tc>
                  <a:txBody>
                    <a:bodyPr/>
                    <a:lstStyle/>
                    <a:p>
                      <a:pPr algn="l" fontAlgn="b"/>
                      <a:r>
                        <a:rPr lang="en-NZ" sz="1100" b="0" i="0" u="none" strike="noStrike" dirty="0">
                          <a:solidFill>
                            <a:srgbClr val="000000"/>
                          </a:solidFill>
                          <a:effectLst/>
                          <a:latin typeface="+mj-lt"/>
                          <a:cs typeface="Segoe UI Light" panose="020B0502040204020203" pitchFamily="34" charset="0"/>
                        </a:rPr>
                        <a:t>Skilled Labourers</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11655375"/>
                  </a:ext>
                </a:extLst>
              </a:tr>
              <a:tr h="329515">
                <a:tc>
                  <a:txBody>
                    <a:bodyPr/>
                    <a:lstStyle/>
                    <a:p>
                      <a:pPr algn="l" fontAlgn="b"/>
                      <a:r>
                        <a:rPr lang="en-NZ" sz="1100" b="0" i="0" u="none" strike="noStrike" dirty="0">
                          <a:solidFill>
                            <a:srgbClr val="000000"/>
                          </a:solidFill>
                          <a:effectLst/>
                          <a:latin typeface="+mj-lt"/>
                          <a:cs typeface="Segoe UI Light" panose="020B0502040204020203" pitchFamily="34" charset="0"/>
                        </a:rPr>
                        <a:t>Labourers</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13581307"/>
                  </a:ext>
                </a:extLst>
              </a:tr>
              <a:tr h="329515">
                <a:tc>
                  <a:txBody>
                    <a:bodyPr/>
                    <a:lstStyle/>
                    <a:p>
                      <a:pPr algn="l" fontAlgn="b"/>
                      <a:r>
                        <a:rPr lang="en-NZ" sz="1100" b="0" i="0" u="none" strike="noStrike" dirty="0">
                          <a:solidFill>
                            <a:srgbClr val="000000"/>
                          </a:solidFill>
                          <a:effectLst/>
                          <a:latin typeface="+mj-lt"/>
                          <a:cs typeface="Segoe UI Light"/>
                        </a:rPr>
                        <a:t>Trainee/Apprentices</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389297693"/>
                  </a:ext>
                </a:extLst>
              </a:tr>
            </a:tbl>
          </a:graphicData>
        </a:graphic>
      </p:graphicFrame>
      <p:graphicFrame>
        <p:nvGraphicFramePr>
          <p:cNvPr id="19" name="Chart 18"/>
          <p:cNvGraphicFramePr>
            <a:graphicFrameLocks/>
          </p:cNvGraphicFramePr>
          <p:nvPr>
            <p:extLst>
              <p:ext uri="{D42A27DB-BD31-4B8C-83A1-F6EECF244321}">
                <p14:modId xmlns:p14="http://schemas.microsoft.com/office/powerpoint/2010/main" val="1056624006"/>
              </p:ext>
            </p:extLst>
          </p:nvPr>
        </p:nvGraphicFramePr>
        <p:xfrm>
          <a:off x="3012192" y="1893278"/>
          <a:ext cx="10604394" cy="1271463"/>
        </p:xfrm>
        <a:graphic>
          <a:graphicData uri="http://schemas.openxmlformats.org/drawingml/2006/chart">
            <c:chart xmlns:c="http://schemas.openxmlformats.org/drawingml/2006/chart" xmlns:r="http://schemas.openxmlformats.org/officeDocument/2006/relationships" r:id="rId8"/>
          </a:graphicData>
        </a:graphic>
      </p:graphicFrame>
      <p:sp>
        <p:nvSpPr>
          <p:cNvPr id="7" name="TextBox 6"/>
          <p:cNvSpPr txBox="1"/>
          <p:nvPr/>
        </p:nvSpPr>
        <p:spPr>
          <a:xfrm>
            <a:off x="3302601" y="1958143"/>
            <a:ext cx="2107399" cy="276999"/>
          </a:xfrm>
          <a:prstGeom prst="rect">
            <a:avLst/>
          </a:prstGeom>
          <a:noFill/>
        </p:spPr>
        <p:txBody>
          <a:bodyPr wrap="square" rtlCol="0">
            <a:spAutoFit/>
          </a:bodyPr>
          <a:lstStyle/>
          <a:p>
            <a:pPr algn="ctr"/>
            <a:r>
              <a:rPr lang="en-GB" sz="1200" b="1">
                <a:latin typeface="+mj-lt"/>
                <a:cs typeface="Segoe UI Light" panose="020B0502040204020203" pitchFamily="34" charset="0"/>
              </a:rPr>
              <a:t>Consultants / Managers</a:t>
            </a:r>
            <a:endParaRPr lang="en-GB" sz="1200" b="1" dirty="0">
              <a:latin typeface="+mj-lt"/>
              <a:cs typeface="Segoe UI Light" panose="020B0502040204020203" pitchFamily="34" charset="0"/>
            </a:endParaRPr>
          </a:p>
        </p:txBody>
      </p:sp>
      <p:sp>
        <p:nvSpPr>
          <p:cNvPr id="26" name="TextBox 25"/>
          <p:cNvSpPr txBox="1"/>
          <p:nvPr/>
        </p:nvSpPr>
        <p:spPr>
          <a:xfrm>
            <a:off x="8439445" y="1952638"/>
            <a:ext cx="2509288" cy="276999"/>
          </a:xfrm>
          <a:prstGeom prst="rect">
            <a:avLst/>
          </a:prstGeom>
          <a:noFill/>
        </p:spPr>
        <p:txBody>
          <a:bodyPr wrap="square" rtlCol="0">
            <a:spAutoFit/>
          </a:bodyPr>
          <a:lstStyle/>
          <a:p>
            <a:pPr algn="ctr"/>
            <a:r>
              <a:rPr lang="en-GB" sz="1200" b="1">
                <a:latin typeface="+mj-lt"/>
                <a:cs typeface="Segoe UI Light" panose="020B0502040204020203" pitchFamily="34" charset="0"/>
              </a:rPr>
              <a:t>Materials / Plant / Equipment</a:t>
            </a:r>
            <a:endParaRPr lang="en-GB" sz="1200" b="1" dirty="0">
              <a:latin typeface="+mj-lt"/>
              <a:cs typeface="Segoe UI Light" panose="020B0502040204020203" pitchFamily="34" charset="0"/>
            </a:endParaRPr>
          </a:p>
        </p:txBody>
      </p:sp>
      <p:sp>
        <p:nvSpPr>
          <p:cNvPr id="8" name="Chevron 7"/>
          <p:cNvSpPr/>
          <p:nvPr/>
        </p:nvSpPr>
        <p:spPr>
          <a:xfrm rot="5400000">
            <a:off x="4265601" y="2672943"/>
            <a:ext cx="181400" cy="396240"/>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mj-lt"/>
            </a:endParaRPr>
          </a:p>
        </p:txBody>
      </p:sp>
      <p:sp>
        <p:nvSpPr>
          <p:cNvPr id="28" name="Chevron 27"/>
          <p:cNvSpPr/>
          <p:nvPr/>
        </p:nvSpPr>
        <p:spPr>
          <a:xfrm rot="5400000">
            <a:off x="6511103" y="2672943"/>
            <a:ext cx="181400" cy="396240"/>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mj-lt"/>
            </a:endParaRPr>
          </a:p>
        </p:txBody>
      </p:sp>
      <p:sp>
        <p:nvSpPr>
          <p:cNvPr id="29" name="Chevron 28"/>
          <p:cNvSpPr/>
          <p:nvPr/>
        </p:nvSpPr>
        <p:spPr>
          <a:xfrm rot="5400000">
            <a:off x="9490276" y="2672943"/>
            <a:ext cx="181400" cy="396240"/>
          </a:xfrm>
          <a:prstGeom prst="chevron">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chemeClr val="tx1"/>
              </a:solidFill>
              <a:latin typeface="+mj-lt"/>
            </a:endParaRPr>
          </a:p>
        </p:txBody>
      </p:sp>
      <p:sp>
        <p:nvSpPr>
          <p:cNvPr id="12" name="TextBox 11"/>
          <p:cNvSpPr txBox="1"/>
          <p:nvPr/>
        </p:nvSpPr>
        <p:spPr>
          <a:xfrm>
            <a:off x="4067783" y="1184697"/>
            <a:ext cx="6639476" cy="313007"/>
          </a:xfrm>
          <a:prstGeom prst="rect">
            <a:avLst/>
          </a:prstGeom>
          <a:noFill/>
        </p:spPr>
        <p:txBody>
          <a:bodyPr wrap="square" rtlCol="0">
            <a:spAutoFit/>
          </a:bodyPr>
          <a:lstStyle/>
          <a:p>
            <a:pPr algn="ctr"/>
            <a:r>
              <a:rPr lang="en-GB" sz="1400" b="1">
                <a:solidFill>
                  <a:schemeClr val="accent2"/>
                </a:solidFill>
                <a:latin typeface="+mj-lt"/>
                <a:cs typeface="Segoe UI Light" panose="020B0502040204020203" pitchFamily="34" charset="0"/>
              </a:rPr>
              <a:t>Water Sector Supply Chain Breakdown by % of Cost</a:t>
            </a:r>
            <a:endParaRPr lang="en-GB" sz="1400" b="1" dirty="0">
              <a:solidFill>
                <a:schemeClr val="accent2"/>
              </a:solidFill>
              <a:latin typeface="+mj-lt"/>
              <a:cs typeface="Segoe UI Light" panose="020B0502040204020203" pitchFamily="34" charset="0"/>
            </a:endParaRPr>
          </a:p>
        </p:txBody>
      </p:sp>
      <p:sp>
        <p:nvSpPr>
          <p:cNvPr id="16" name="TextBox 15"/>
          <p:cNvSpPr txBox="1"/>
          <p:nvPr/>
        </p:nvSpPr>
        <p:spPr>
          <a:xfrm>
            <a:off x="3149265" y="1585751"/>
            <a:ext cx="4251622" cy="307777"/>
          </a:xfrm>
          <a:prstGeom prst="rect">
            <a:avLst/>
          </a:prstGeom>
          <a:noFill/>
        </p:spPr>
        <p:txBody>
          <a:bodyPr wrap="square" rtlCol="0">
            <a:spAutoFit/>
          </a:bodyPr>
          <a:lstStyle/>
          <a:p>
            <a:pPr algn="ctr"/>
            <a:r>
              <a:rPr lang="en-GB" sz="1400" b="1">
                <a:latin typeface="+mj-lt"/>
                <a:cs typeface="Segoe UI Light" panose="020B0502040204020203" pitchFamily="34" charset="0"/>
              </a:rPr>
              <a:t>Labour</a:t>
            </a:r>
            <a:endParaRPr lang="en-GB" sz="1400" b="1" dirty="0">
              <a:latin typeface="+mj-lt"/>
              <a:cs typeface="Segoe UI Light" panose="020B0502040204020203" pitchFamily="34" charset="0"/>
            </a:endParaRPr>
          </a:p>
        </p:txBody>
      </p:sp>
      <p:sp>
        <p:nvSpPr>
          <p:cNvPr id="33" name="TextBox 32"/>
          <p:cNvSpPr txBox="1"/>
          <p:nvPr/>
        </p:nvSpPr>
        <p:spPr>
          <a:xfrm>
            <a:off x="8520609" y="1586853"/>
            <a:ext cx="2346960" cy="307777"/>
          </a:xfrm>
          <a:prstGeom prst="rect">
            <a:avLst/>
          </a:prstGeom>
          <a:noFill/>
        </p:spPr>
        <p:txBody>
          <a:bodyPr wrap="square" rtlCol="0">
            <a:spAutoFit/>
          </a:bodyPr>
          <a:lstStyle/>
          <a:p>
            <a:pPr algn="ctr"/>
            <a:r>
              <a:rPr lang="en-GB" sz="1400" b="1">
                <a:latin typeface="+mj-lt"/>
                <a:cs typeface="Segoe UI Light" panose="020B0502040204020203" pitchFamily="34" charset="0"/>
              </a:rPr>
              <a:t>Materials</a:t>
            </a:r>
            <a:endParaRPr lang="en-GB" sz="1400" b="1" dirty="0">
              <a:latin typeface="+mj-lt"/>
              <a:cs typeface="Segoe UI Light" panose="020B0502040204020203" pitchFamily="34" charset="0"/>
            </a:endParaRPr>
          </a:p>
        </p:txBody>
      </p:sp>
      <p:graphicFrame>
        <p:nvGraphicFramePr>
          <p:cNvPr id="47" name="Table 46"/>
          <p:cNvGraphicFramePr>
            <a:graphicFrameLocks noGrp="1"/>
          </p:cNvGraphicFramePr>
          <p:nvPr>
            <p:extLst>
              <p:ext uri="{D42A27DB-BD31-4B8C-83A1-F6EECF244321}">
                <p14:modId xmlns:p14="http://schemas.microsoft.com/office/powerpoint/2010/main" val="4174710323"/>
              </p:ext>
            </p:extLst>
          </p:nvPr>
        </p:nvGraphicFramePr>
        <p:xfrm>
          <a:off x="8259133" y="3049719"/>
          <a:ext cx="2652118" cy="1099364"/>
        </p:xfrm>
        <a:graphic>
          <a:graphicData uri="http://schemas.openxmlformats.org/drawingml/2006/table">
            <a:tbl>
              <a:tblPr firstRow="1" bandRow="1">
                <a:tableStyleId>{5C22544A-7EE6-4342-B048-85BDC9FD1C3A}</a:tableStyleId>
              </a:tblPr>
              <a:tblGrid>
                <a:gridCol w="1627993">
                  <a:extLst>
                    <a:ext uri="{9D8B030D-6E8A-4147-A177-3AD203B41FA5}">
                      <a16:colId xmlns:a16="http://schemas.microsoft.com/office/drawing/2014/main" val="1055332071"/>
                    </a:ext>
                  </a:extLst>
                </a:gridCol>
                <a:gridCol w="1024125">
                  <a:extLst>
                    <a:ext uri="{9D8B030D-6E8A-4147-A177-3AD203B41FA5}">
                      <a16:colId xmlns:a16="http://schemas.microsoft.com/office/drawing/2014/main" val="1578116845"/>
                    </a:ext>
                  </a:extLst>
                </a:gridCol>
              </a:tblGrid>
              <a:tr h="574995">
                <a:tc>
                  <a:txBody>
                    <a:bodyPr/>
                    <a:lstStyle/>
                    <a:p>
                      <a:pPr algn="l"/>
                      <a:r>
                        <a:rPr lang="en-NZ" sz="1100" b="1" dirty="0">
                          <a:solidFill>
                            <a:schemeClr val="tx1"/>
                          </a:solidFill>
                          <a:latin typeface="+mj-lt"/>
                          <a:cs typeface="Segoe UI Light"/>
                        </a:rPr>
                        <a:t>Materials / Plant</a:t>
                      </a:r>
                      <a:r>
                        <a:rPr lang="en-NZ" sz="1100" b="1" baseline="0" dirty="0">
                          <a:solidFill>
                            <a:schemeClr val="tx1"/>
                          </a:solidFill>
                          <a:latin typeface="+mj-lt"/>
                          <a:cs typeface="Segoe UI Light"/>
                        </a:rPr>
                        <a:t> / Equipment</a:t>
                      </a:r>
                      <a:endParaRPr lang="en-NZ" sz="1100" b="1" dirty="0">
                        <a:solidFill>
                          <a:schemeClr val="tx1"/>
                        </a:solidFill>
                        <a:latin typeface="+mj-lt"/>
                        <a:cs typeface="Segoe UI Ligh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rgbClr val="74979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mi-NZ" sz="1100" b="1" dirty="0">
                          <a:solidFill>
                            <a:schemeClr val="tx1"/>
                          </a:solidFill>
                          <a:latin typeface="+mj-lt"/>
                          <a:cs typeface="Segoe UI Light"/>
                        </a:rPr>
                        <a:t>Percentage </a:t>
                      </a:r>
                    </a:p>
                    <a:p>
                      <a:pPr algn="ctr"/>
                      <a:r>
                        <a:rPr lang="mi-NZ" sz="1100" b="1" dirty="0">
                          <a:solidFill>
                            <a:schemeClr val="tx1"/>
                          </a:solidFill>
                          <a:latin typeface="+mj-lt"/>
                          <a:cs typeface="Segoe UI Light"/>
                        </a:rPr>
                        <a:t>of </a:t>
                      </a:r>
                    </a:p>
                    <a:p>
                      <a:pPr algn="ctr"/>
                      <a:r>
                        <a:rPr lang="mi-NZ" sz="1100" b="1" dirty="0">
                          <a:solidFill>
                            <a:schemeClr val="tx1"/>
                          </a:solidFill>
                          <a:latin typeface="+mj-lt"/>
                          <a:cs typeface="Segoe UI Light"/>
                        </a:rPr>
                        <a:t>cost</a:t>
                      </a:r>
                      <a:endParaRPr lang="en-NZ" sz="1100" b="1" dirty="0">
                        <a:solidFill>
                          <a:schemeClr val="tx1"/>
                        </a:solidFill>
                        <a:latin typeface="+mj-lt"/>
                        <a:cs typeface="Segoe UI Light"/>
                      </a:endParaRPr>
                    </a:p>
                  </a:txBody>
                  <a:tcPr>
                    <a:lnL w="3175" cap="flat" cmpd="sng" algn="ctr">
                      <a:noFill/>
                      <a:prstDash val="solid"/>
                      <a:round/>
                      <a:headEnd type="none" w="med" len="med"/>
                      <a:tailEnd type="none" w="med" len="med"/>
                    </a:lnL>
                    <a:lnR w="3175" cap="flat" cmpd="sng" algn="ctr">
                      <a:noFill/>
                      <a:prstDash val="solid"/>
                      <a:round/>
                      <a:headEnd type="none" w="med" len="med"/>
                      <a:tailEnd type="none" w="med" len="med"/>
                    </a:lnR>
                    <a:lnT w="19050" cap="flat" cmpd="sng" algn="ctr">
                      <a:solidFill>
                        <a:srgbClr val="749792"/>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7344157"/>
                  </a:ext>
                </a:extLst>
              </a:tr>
              <a:tr h="252502">
                <a:tc>
                  <a:txBody>
                    <a:bodyPr/>
                    <a:lstStyle/>
                    <a:p>
                      <a:pPr algn="l" fontAlgn="b"/>
                      <a:r>
                        <a:rPr lang="en-NZ" sz="1100" b="0" i="0" u="none" strike="noStrike" dirty="0">
                          <a:solidFill>
                            <a:srgbClr val="000000"/>
                          </a:solidFill>
                          <a:effectLst/>
                          <a:latin typeface="+mj-lt"/>
                          <a:cs typeface="Segoe UI Light"/>
                        </a:rPr>
                        <a:t>Materials</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NZ" sz="1100" b="0" i="0" u="none" strike="noStrike" dirty="0">
                          <a:solidFill>
                            <a:srgbClr val="000000"/>
                          </a:solidFill>
                          <a:effectLst/>
                          <a:latin typeface="+mj-lt"/>
                          <a:cs typeface="Segoe UI Light"/>
                        </a:rPr>
                        <a:t>X%</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4334979"/>
                  </a:ext>
                </a:extLst>
              </a:tr>
              <a:tr h="252502">
                <a:tc>
                  <a:txBody>
                    <a:bodyPr/>
                    <a:lstStyle/>
                    <a:p>
                      <a:pPr algn="l" fontAlgn="b"/>
                      <a:r>
                        <a:rPr lang="en-NZ" sz="1100" b="0" i="0" u="none" strike="noStrike" dirty="0">
                          <a:solidFill>
                            <a:srgbClr val="000000"/>
                          </a:solidFill>
                          <a:effectLst/>
                          <a:latin typeface="+mj-lt"/>
                          <a:cs typeface="Segoe UI Light"/>
                        </a:rPr>
                        <a:t>Plant</a:t>
                      </a:r>
                      <a:r>
                        <a:rPr lang="en-NZ" sz="1100" b="0" i="0" u="none" strike="noStrike" baseline="0" dirty="0">
                          <a:solidFill>
                            <a:srgbClr val="000000"/>
                          </a:solidFill>
                          <a:effectLst/>
                          <a:latin typeface="+mj-lt"/>
                          <a:cs typeface="Segoe UI Light"/>
                        </a:rPr>
                        <a:t> and Equipment</a:t>
                      </a:r>
                      <a:endParaRPr lang="en-NZ" sz="1100" b="0" i="0" u="none" strike="noStrike" dirty="0">
                        <a:solidFill>
                          <a:srgbClr val="000000"/>
                        </a:solidFill>
                        <a:effectLst/>
                        <a:latin typeface="+mj-lt"/>
                        <a:cs typeface="Segoe UI Light"/>
                      </a:endParaRP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NZ" sz="1100" b="0" i="0" u="none" strike="noStrike" dirty="0">
                          <a:solidFill>
                            <a:srgbClr val="000000"/>
                          </a:solidFill>
                          <a:effectLst/>
                          <a:latin typeface="+mj-lt"/>
                          <a:cs typeface="Segoe UI Light"/>
                        </a:rPr>
                        <a:t>Y%</a:t>
                      </a:r>
                    </a:p>
                  </a:txBody>
                  <a:tcPr marL="7620" marR="7620" marT="7620" marB="0" anchor="ctr">
                    <a:lnL w="3175" cap="flat" cmpd="sng" algn="ctr">
                      <a:noFill/>
                      <a:prstDash val="solid"/>
                      <a:round/>
                      <a:headEnd type="none" w="med" len="med"/>
                      <a:tailEnd type="none" w="med" len="med"/>
                    </a:lnL>
                    <a:lnR w="317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83314766"/>
                  </a:ext>
                </a:extLst>
              </a:tr>
            </a:tbl>
          </a:graphicData>
        </a:graphic>
      </p:graphicFrame>
      <p:sp>
        <p:nvSpPr>
          <p:cNvPr id="2" name="TextBox 1"/>
          <p:cNvSpPr txBox="1"/>
          <p:nvPr/>
        </p:nvSpPr>
        <p:spPr>
          <a:xfrm>
            <a:off x="3123877" y="5836245"/>
            <a:ext cx="2127600" cy="261610"/>
          </a:xfrm>
          <a:prstGeom prst="rect">
            <a:avLst/>
          </a:prstGeom>
          <a:noFill/>
        </p:spPr>
        <p:txBody>
          <a:bodyPr wrap="square" lIns="91440" tIns="45720" rIns="91440" bIns="45720" rtlCol="0" anchor="t">
            <a:spAutoFit/>
          </a:bodyPr>
          <a:lstStyle/>
          <a:p>
            <a:pPr algn="ctr"/>
            <a:r>
              <a:rPr lang="en-GB" sz="1100" b="1">
                <a:solidFill>
                  <a:srgbClr val="000000"/>
                </a:solidFill>
                <a:latin typeface="+mj-lt"/>
                <a:cs typeface="Segoe UI Light"/>
              </a:rPr>
              <a:t>30% to 40% of FTEs</a:t>
            </a:r>
            <a:r>
              <a:rPr lang="en-GB" sz="1100" b="1" baseline="30000">
                <a:solidFill>
                  <a:srgbClr val="000000"/>
                </a:solidFill>
                <a:latin typeface="+mj-lt"/>
                <a:cs typeface="Segoe UI Light"/>
              </a:rPr>
              <a:t>1</a:t>
            </a:r>
            <a:endParaRPr lang="en-GB" sz="1100" b="1" baseline="30000" dirty="0">
              <a:solidFill>
                <a:srgbClr val="000000"/>
              </a:solidFill>
              <a:latin typeface="+mj-lt"/>
              <a:cs typeface="Segoe UI Light"/>
            </a:endParaRPr>
          </a:p>
        </p:txBody>
      </p:sp>
      <p:sp>
        <p:nvSpPr>
          <p:cNvPr id="27" name="TextBox 26"/>
          <p:cNvSpPr txBox="1"/>
          <p:nvPr/>
        </p:nvSpPr>
        <p:spPr>
          <a:xfrm>
            <a:off x="5536526" y="5831994"/>
            <a:ext cx="2127600" cy="261610"/>
          </a:xfrm>
          <a:prstGeom prst="rect">
            <a:avLst/>
          </a:prstGeom>
          <a:noFill/>
        </p:spPr>
        <p:txBody>
          <a:bodyPr wrap="square" lIns="91440" tIns="45720" rIns="91440" bIns="45720" rtlCol="0" anchor="t">
            <a:spAutoFit/>
          </a:bodyPr>
          <a:lstStyle/>
          <a:p>
            <a:pPr algn="ctr"/>
            <a:r>
              <a:rPr lang="en-GB" sz="1100" b="1">
                <a:solidFill>
                  <a:srgbClr val="000000"/>
                </a:solidFill>
                <a:latin typeface="+mj-lt"/>
                <a:cs typeface="Segoe UI Light"/>
              </a:rPr>
              <a:t>60% to 70% of FTEs</a:t>
            </a:r>
            <a:r>
              <a:rPr lang="en-GB" sz="1100" b="1" baseline="30000">
                <a:solidFill>
                  <a:srgbClr val="000000"/>
                </a:solidFill>
                <a:latin typeface="+mj-lt"/>
                <a:cs typeface="Segoe UI Light"/>
              </a:rPr>
              <a:t>2</a:t>
            </a:r>
            <a:endParaRPr lang="en-GB" sz="1100" b="1" baseline="30000" dirty="0">
              <a:solidFill>
                <a:srgbClr val="000000"/>
              </a:solidFill>
              <a:latin typeface="+mj-lt"/>
              <a:cs typeface="Segoe UI Light"/>
            </a:endParaRPr>
          </a:p>
        </p:txBody>
      </p:sp>
      <p:sp>
        <p:nvSpPr>
          <p:cNvPr id="30" name="TextBox 29"/>
          <p:cNvSpPr txBox="1"/>
          <p:nvPr/>
        </p:nvSpPr>
        <p:spPr>
          <a:xfrm>
            <a:off x="5479947" y="1958143"/>
            <a:ext cx="2107399" cy="276999"/>
          </a:xfrm>
          <a:prstGeom prst="rect">
            <a:avLst/>
          </a:prstGeom>
          <a:noFill/>
        </p:spPr>
        <p:txBody>
          <a:bodyPr wrap="square" rtlCol="0">
            <a:spAutoFit/>
          </a:bodyPr>
          <a:lstStyle/>
          <a:p>
            <a:pPr algn="ctr"/>
            <a:r>
              <a:rPr lang="en-GB" sz="1200" b="1">
                <a:latin typeface="+mj-lt"/>
                <a:cs typeface="Segoe UI Light" panose="020B0502040204020203" pitchFamily="34" charset="0"/>
              </a:rPr>
              <a:t>Contractors</a:t>
            </a:r>
            <a:endParaRPr lang="en-GB" sz="1200" b="1" dirty="0">
              <a:latin typeface="+mj-lt"/>
              <a:cs typeface="Segoe UI Light" panose="020B0502040204020203" pitchFamily="34" charset="0"/>
            </a:endParaRPr>
          </a:p>
        </p:txBody>
      </p:sp>
      <p:sp>
        <p:nvSpPr>
          <p:cNvPr id="9" name="TextBox 8"/>
          <p:cNvSpPr txBox="1"/>
          <p:nvPr/>
        </p:nvSpPr>
        <p:spPr>
          <a:xfrm>
            <a:off x="3016862" y="6138317"/>
            <a:ext cx="5833840" cy="338554"/>
          </a:xfrm>
          <a:prstGeom prst="rect">
            <a:avLst/>
          </a:prstGeom>
          <a:noFill/>
        </p:spPr>
        <p:txBody>
          <a:bodyPr wrap="square" lIns="91440" tIns="45720" rIns="91440" bIns="45720" rtlCol="0" anchor="t">
            <a:spAutoFit/>
          </a:bodyPr>
          <a:lstStyle/>
          <a:p>
            <a:r>
              <a:rPr lang="en-GB" sz="800" baseline="30000">
                <a:solidFill>
                  <a:srgbClr val="000000"/>
                </a:solidFill>
                <a:latin typeface="+mj-lt"/>
                <a:cs typeface="Segoe UI Light"/>
              </a:rPr>
              <a:t>1 </a:t>
            </a:r>
            <a:r>
              <a:rPr lang="en-GB" sz="800">
                <a:solidFill>
                  <a:srgbClr val="000000"/>
                </a:solidFill>
                <a:latin typeface="+mj-lt"/>
                <a:cs typeface="Segoe UI Light"/>
              </a:rPr>
              <a:t>Excludes procurement and wider back office admin and support FTEs.</a:t>
            </a:r>
          </a:p>
          <a:p>
            <a:r>
              <a:rPr lang="en-GB" sz="800" baseline="30000">
                <a:solidFill>
                  <a:srgbClr val="000000"/>
                </a:solidFill>
                <a:latin typeface="+mj-lt"/>
                <a:cs typeface="Segoe UI Light"/>
              </a:rPr>
              <a:t>2 </a:t>
            </a:r>
            <a:r>
              <a:rPr lang="en-GB" sz="800">
                <a:solidFill>
                  <a:srgbClr val="000000"/>
                </a:solidFill>
                <a:latin typeface="+mj-lt"/>
                <a:cs typeface="Segoe UI Light"/>
              </a:rPr>
              <a:t>It is estimated that @35% to 40% of the workforce will comprise labourers/skilled labourers/trainees and apprentices</a:t>
            </a:r>
            <a:endParaRPr lang="en-GB" sz="800" dirty="0">
              <a:solidFill>
                <a:srgbClr val="000000"/>
              </a:solidFill>
              <a:latin typeface="+mj-lt"/>
              <a:cs typeface="Segoe UI Light"/>
            </a:endParaRPr>
          </a:p>
        </p:txBody>
      </p:sp>
      <p:sp>
        <p:nvSpPr>
          <p:cNvPr id="24" name="TextBox 23">
            <a:extLst>
              <a:ext uri="{FF2B5EF4-FFF2-40B4-BE49-F238E27FC236}">
                <a16:creationId xmlns:a16="http://schemas.microsoft.com/office/drawing/2014/main" id="{8683FB25-48C2-46A1-AC26-6F42F3178487}"/>
              </a:ext>
            </a:extLst>
          </p:cNvPr>
          <p:cNvSpPr txBox="1"/>
          <p:nvPr/>
        </p:nvSpPr>
        <p:spPr>
          <a:xfrm>
            <a:off x="495002" y="3748834"/>
            <a:ext cx="1998344" cy="1884344"/>
          </a:xfrm>
          <a:prstGeom prst="rect">
            <a:avLst/>
          </a:prstGeom>
          <a:noFill/>
          <a:ln w="19050">
            <a:solidFill>
              <a:srgbClr val="749792"/>
            </a:solidFill>
            <a:prstDash val="dash"/>
          </a:ln>
        </p:spPr>
        <p:txBody>
          <a:bodyPr vert="horz" wrap="square" lIns="72000" tIns="72000" rIns="72000" bIns="72000" rtlCol="0" anchor="t">
            <a:spAutoFit/>
          </a:bodyPr>
          <a:lstStyle/>
          <a:p>
            <a:pPr>
              <a:spcAft>
                <a:spcPts val="600"/>
              </a:spcAft>
            </a:pPr>
            <a:r>
              <a:rPr lang="en-GB" sz="1100" b="1">
                <a:latin typeface="+mj-lt"/>
                <a:cs typeface="Segoe UI Light"/>
              </a:rPr>
              <a:t>Operational Expenditure typically involves a mix of:</a:t>
            </a:r>
          </a:p>
          <a:p>
            <a:pPr marL="171450" indent="-171450">
              <a:spcAft>
                <a:spcPts val="600"/>
              </a:spcAft>
              <a:buFont typeface="Arial" panose="020B0604020202020204" pitchFamily="34" charset="0"/>
              <a:buChar char="•"/>
            </a:pPr>
            <a:r>
              <a:rPr lang="en-GB" sz="1100">
                <a:solidFill>
                  <a:srgbClr val="000000"/>
                </a:solidFill>
                <a:latin typeface="+mj-lt"/>
                <a:cs typeface="Segoe UI Light"/>
              </a:rPr>
              <a:t>Water treatment and supply</a:t>
            </a:r>
          </a:p>
          <a:p>
            <a:pPr marL="171450" indent="-171450">
              <a:spcAft>
                <a:spcPts val="600"/>
              </a:spcAft>
              <a:buFont typeface="Arial" panose="020B0604020202020204" pitchFamily="34" charset="0"/>
              <a:buChar char="•"/>
            </a:pPr>
            <a:r>
              <a:rPr lang="en-GB" sz="1100">
                <a:solidFill>
                  <a:srgbClr val="000000"/>
                </a:solidFill>
                <a:latin typeface="+mj-lt"/>
                <a:cs typeface="Segoe UI Light"/>
              </a:rPr>
              <a:t>Network distribution</a:t>
            </a:r>
          </a:p>
          <a:p>
            <a:pPr marL="171450" indent="-171450">
              <a:spcAft>
                <a:spcPts val="600"/>
              </a:spcAft>
              <a:buFont typeface="Arial" panose="020B0604020202020204" pitchFamily="34" charset="0"/>
              <a:buChar char="•"/>
            </a:pPr>
            <a:r>
              <a:rPr lang="en-GB" sz="1100">
                <a:solidFill>
                  <a:srgbClr val="000000"/>
                </a:solidFill>
                <a:latin typeface="+mj-lt"/>
                <a:cs typeface="Segoe UI Light"/>
              </a:rPr>
              <a:t>Wastewater treatment and disposal</a:t>
            </a:r>
          </a:p>
          <a:p>
            <a:pPr marL="171450" indent="-171450">
              <a:spcAft>
                <a:spcPts val="600"/>
              </a:spcAft>
              <a:buFont typeface="Arial" panose="020B0604020202020204" pitchFamily="34" charset="0"/>
              <a:buChar char="•"/>
            </a:pPr>
            <a:r>
              <a:rPr lang="en-GB" sz="1100">
                <a:solidFill>
                  <a:srgbClr val="000000"/>
                </a:solidFill>
                <a:latin typeface="+mj-lt"/>
                <a:cs typeface="Segoe UI Light"/>
              </a:rPr>
              <a:t>Stormwater drainage</a:t>
            </a:r>
          </a:p>
          <a:p>
            <a:pPr>
              <a:spcAft>
                <a:spcPts val="600"/>
              </a:spcAft>
            </a:pPr>
            <a:endParaRPr lang="en-GB" sz="1100" dirty="0">
              <a:solidFill>
                <a:srgbClr val="000000"/>
              </a:solidFill>
              <a:latin typeface="+mj-lt"/>
              <a:cs typeface="Segoe UI Light"/>
            </a:endParaRPr>
          </a:p>
        </p:txBody>
      </p:sp>
    </p:spTree>
    <p:extLst>
      <p:ext uri="{BB962C8B-B14F-4D97-AF65-F5344CB8AC3E}">
        <p14:creationId xmlns:p14="http://schemas.microsoft.com/office/powerpoint/2010/main" val="32190865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6" name="Rectangle 155">
            <a:extLst>
              <a:ext uri="{FF2B5EF4-FFF2-40B4-BE49-F238E27FC236}">
                <a16:creationId xmlns:a16="http://schemas.microsoft.com/office/drawing/2014/main" id="{1240D579-E87C-4D64-AF0D-93819E2E37A6}"/>
              </a:ext>
            </a:extLst>
          </p:cNvPr>
          <p:cNvSpPr/>
          <p:nvPr/>
        </p:nvSpPr>
        <p:spPr bwMode="gray">
          <a:xfrm>
            <a:off x="6131665" y="2992923"/>
            <a:ext cx="3600000" cy="1490503"/>
          </a:xfrm>
          <a:prstGeom prst="rect">
            <a:avLst/>
          </a:prstGeom>
          <a:solidFill>
            <a:schemeClr val="bg1">
              <a:lumMod val="95000"/>
            </a:schemeClr>
          </a:solid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aphicFrame>
        <p:nvGraphicFramePr>
          <p:cNvPr id="5" name="Object 4" hidden="1"/>
          <p:cNvGraphicFramePr>
            <a:graphicFrameLocks noChangeAspect="1"/>
          </p:cNvGraphicFramePr>
          <p:nvPr>
            <p:custDataLst>
              <p:tags r:id="rId2"/>
            </p:custDataLst>
          </p:nvPr>
        </p:nvGraphicFramePr>
        <p:xfrm>
          <a:off x="1247731" y="1441"/>
          <a:ext cx="1441" cy="1441"/>
        </p:xfrm>
        <a:graphic>
          <a:graphicData uri="http://schemas.openxmlformats.org/presentationml/2006/ole">
            <mc:AlternateContent xmlns:mc="http://schemas.openxmlformats.org/markup-compatibility/2006">
              <mc:Choice xmlns:v="urn:schemas-microsoft-com:vml" Requires="v">
                <p:oleObj spid="_x0000_s4105" name="think-cell Slide" r:id="rId6" imgW="355" imgH="356" progId="TCLayout.ActiveDocument.1">
                  <p:embed/>
                </p:oleObj>
              </mc:Choice>
              <mc:Fallback>
                <p:oleObj name="think-cell Slide" r:id="rId6" imgW="355" imgH="356" progId="TCLayout.ActiveDocument.1">
                  <p:embed/>
                  <p:pic>
                    <p:nvPicPr>
                      <p:cNvPr id="5" name="Object 4" hidden="1"/>
                      <p:cNvPicPr/>
                      <p:nvPr/>
                    </p:nvPicPr>
                    <p:blipFill>
                      <a:blip r:embed="rId7"/>
                      <a:stretch>
                        <a:fillRect/>
                      </a:stretch>
                    </p:blipFill>
                    <p:spPr>
                      <a:xfrm>
                        <a:off x="1247731" y="1441"/>
                        <a:ext cx="1441" cy="1441"/>
                      </a:xfrm>
                      <a:prstGeom prst="rect">
                        <a:avLst/>
                      </a:prstGeom>
                    </p:spPr>
                  </p:pic>
                </p:oleObj>
              </mc:Fallback>
            </mc:AlternateContent>
          </a:graphicData>
        </a:graphic>
      </p:graphicFrame>
      <p:sp>
        <p:nvSpPr>
          <p:cNvPr id="4" name="Rectangle 3" hidden="1"/>
          <p:cNvSpPr/>
          <p:nvPr>
            <p:custDataLst>
              <p:tags r:id="rId3"/>
            </p:custDataLst>
          </p:nvPr>
        </p:nvSpPr>
        <p:spPr>
          <a:xfrm>
            <a:off x="1246291" y="1"/>
            <a:ext cx="144015" cy="14401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GB" sz="20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sym typeface="Calibri" panose="020F0502020204030204" pitchFamily="34" charset="0"/>
            </a:endParaRPr>
          </a:p>
        </p:txBody>
      </p:sp>
      <p:sp>
        <p:nvSpPr>
          <p:cNvPr id="58" name="Title 4">
            <a:extLst>
              <a:ext uri="{FF2B5EF4-FFF2-40B4-BE49-F238E27FC236}">
                <a16:creationId xmlns:a16="http://schemas.microsoft.com/office/drawing/2014/main" id="{A3F2E985-978B-4ACA-8DA3-45871632FB7E}"/>
              </a:ext>
            </a:extLst>
          </p:cNvPr>
          <p:cNvSpPr>
            <a:spLocks noGrp="1"/>
          </p:cNvSpPr>
          <p:nvPr>
            <p:ph type="title"/>
          </p:nvPr>
        </p:nvSpPr>
        <p:spPr>
          <a:xfrm>
            <a:off x="501650" y="317500"/>
            <a:ext cx="11188700" cy="334099"/>
          </a:xfrm>
        </p:spPr>
        <p:txBody>
          <a:bodyPr/>
          <a:lstStyle/>
          <a:p>
            <a:r>
              <a:rPr lang="en-GB" b="1">
                <a:latin typeface="Calibri Light" panose="020F0302020204030204" pitchFamily="34" charset="0"/>
              </a:rPr>
              <a:t>Model design</a:t>
            </a:r>
            <a:endParaRPr lang="en-GB" b="1" dirty="0">
              <a:latin typeface="Calibri Light" panose="020F0302020204030204" pitchFamily="34" charset="0"/>
            </a:endParaRPr>
          </a:p>
        </p:txBody>
      </p:sp>
      <p:sp>
        <p:nvSpPr>
          <p:cNvPr id="59" name="Text Placeholder 24">
            <a:extLst>
              <a:ext uri="{FF2B5EF4-FFF2-40B4-BE49-F238E27FC236}">
                <a16:creationId xmlns:a16="http://schemas.microsoft.com/office/drawing/2014/main" id="{565F91A9-072F-471D-9B36-2AC4D5ECD619}"/>
              </a:ext>
            </a:extLst>
          </p:cNvPr>
          <p:cNvSpPr>
            <a:spLocks noGrp="1"/>
          </p:cNvSpPr>
          <p:nvPr>
            <p:ph type="body" sz="quarter" idx="13"/>
          </p:nvPr>
        </p:nvSpPr>
        <p:spPr>
          <a:xfrm>
            <a:off x="501650" y="651600"/>
            <a:ext cx="11395278" cy="757255"/>
          </a:xfrm>
        </p:spPr>
        <p:txBody>
          <a:bodyPr/>
          <a:lstStyle/>
          <a:p>
            <a:pPr marL="16267" marR="6509">
              <a:lnSpc>
                <a:spcPct val="107100"/>
              </a:lnSpc>
              <a:spcBef>
                <a:spcPts val="128"/>
              </a:spcBef>
            </a:pPr>
            <a:r>
              <a:rPr lang="en-GB" spc="-30" dirty="0">
                <a:latin typeface="Calibri Light" panose="020F0302020204030204" pitchFamily="34" charset="0"/>
              </a:rPr>
              <a:t>An overview of the Water Workforce model design, the key inputs and outputs are shown below</a:t>
            </a:r>
          </a:p>
        </p:txBody>
      </p:sp>
      <p:sp>
        <p:nvSpPr>
          <p:cNvPr id="79" name="Rectangle 78">
            <a:extLst>
              <a:ext uri="{FF2B5EF4-FFF2-40B4-BE49-F238E27FC236}">
                <a16:creationId xmlns:a16="http://schemas.microsoft.com/office/drawing/2014/main" id="{A273AD88-2F34-4283-B922-46C9E9496A00}"/>
              </a:ext>
            </a:extLst>
          </p:cNvPr>
          <p:cNvSpPr/>
          <p:nvPr/>
        </p:nvSpPr>
        <p:spPr>
          <a:xfrm>
            <a:off x="9910742" y="1297302"/>
            <a:ext cx="1954268" cy="3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FTE Profiles by Bucket</a:t>
            </a:r>
            <a:endParaRPr lang="en-GB" sz="1400" dirty="0"/>
          </a:p>
        </p:txBody>
      </p:sp>
      <p:sp>
        <p:nvSpPr>
          <p:cNvPr id="64" name="Rectangle 63">
            <a:extLst>
              <a:ext uri="{FF2B5EF4-FFF2-40B4-BE49-F238E27FC236}">
                <a16:creationId xmlns:a16="http://schemas.microsoft.com/office/drawing/2014/main" id="{D3CADB35-8CC6-479F-8273-0D2DA7033517}"/>
              </a:ext>
            </a:extLst>
          </p:cNvPr>
          <p:cNvSpPr/>
          <p:nvPr/>
        </p:nvSpPr>
        <p:spPr>
          <a:xfrm>
            <a:off x="4541015" y="1297302"/>
            <a:ext cx="2781525" cy="360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Council 10 Year LTP Projections</a:t>
            </a:r>
            <a:endParaRPr lang="en-GB" sz="1400" dirty="0"/>
          </a:p>
        </p:txBody>
      </p:sp>
      <p:cxnSp>
        <p:nvCxnSpPr>
          <p:cNvPr id="3" name="Connector: Elbow 2">
            <a:extLst>
              <a:ext uri="{FF2B5EF4-FFF2-40B4-BE49-F238E27FC236}">
                <a16:creationId xmlns:a16="http://schemas.microsoft.com/office/drawing/2014/main" id="{15FF4B66-1846-4719-9EBE-70610D2FD745}"/>
              </a:ext>
            </a:extLst>
          </p:cNvPr>
          <p:cNvCxnSpPr>
            <a:cxnSpLocks/>
            <a:stCxn id="64" idx="1"/>
            <a:endCxn id="86" idx="0"/>
          </p:cNvCxnSpPr>
          <p:nvPr/>
        </p:nvCxnSpPr>
        <p:spPr>
          <a:xfrm rot="10800000" flipV="1">
            <a:off x="4043011" y="1477301"/>
            <a:ext cx="498004" cy="366595"/>
          </a:xfrm>
          <a:prstGeom prst="bentConnector2">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or: Elbow 76">
            <a:extLst>
              <a:ext uri="{FF2B5EF4-FFF2-40B4-BE49-F238E27FC236}">
                <a16:creationId xmlns:a16="http://schemas.microsoft.com/office/drawing/2014/main" id="{9706636A-4D26-44B6-8B9A-13D4E7827D36}"/>
              </a:ext>
            </a:extLst>
          </p:cNvPr>
          <p:cNvCxnSpPr>
            <a:cxnSpLocks/>
            <a:stCxn id="64" idx="3"/>
            <a:endCxn id="87" idx="0"/>
          </p:cNvCxnSpPr>
          <p:nvPr/>
        </p:nvCxnSpPr>
        <p:spPr>
          <a:xfrm>
            <a:off x="7322540" y="1477302"/>
            <a:ext cx="609125" cy="366853"/>
          </a:xfrm>
          <a:prstGeom prst="bentConnector2">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a:extLst>
              <a:ext uri="{FF2B5EF4-FFF2-40B4-BE49-F238E27FC236}">
                <a16:creationId xmlns:a16="http://schemas.microsoft.com/office/drawing/2014/main" id="{BEEB706D-12FC-479D-A8AC-F511DCBC03D4}"/>
              </a:ext>
            </a:extLst>
          </p:cNvPr>
          <p:cNvSpPr/>
          <p:nvPr/>
        </p:nvSpPr>
        <p:spPr>
          <a:xfrm>
            <a:off x="2243011" y="4765402"/>
            <a:ext cx="7488654" cy="36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Spend by Bucket</a:t>
            </a:r>
            <a:endParaRPr lang="en-GB" sz="1400" dirty="0"/>
          </a:p>
        </p:txBody>
      </p:sp>
      <p:sp>
        <p:nvSpPr>
          <p:cNvPr id="82" name="Rectangle 81">
            <a:extLst>
              <a:ext uri="{FF2B5EF4-FFF2-40B4-BE49-F238E27FC236}">
                <a16:creationId xmlns:a16="http://schemas.microsoft.com/office/drawing/2014/main" id="{06BFF216-6007-4A10-A0D7-89E10255A228}"/>
              </a:ext>
            </a:extLst>
          </p:cNvPr>
          <p:cNvSpPr/>
          <p:nvPr/>
        </p:nvSpPr>
        <p:spPr>
          <a:xfrm>
            <a:off x="2243011" y="5900190"/>
            <a:ext cx="7488654" cy="360000"/>
          </a:xfrm>
          <a:prstGeom prst="rect">
            <a:avLst/>
          </a:prstGeom>
          <a:solidFill>
            <a:srgbClr val="046A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FTE Workforce Estimate by Bucket</a:t>
            </a:r>
            <a:endParaRPr lang="en-GB" sz="1400" dirty="0"/>
          </a:p>
        </p:txBody>
      </p:sp>
      <p:cxnSp>
        <p:nvCxnSpPr>
          <p:cNvPr id="14" name="Straight Arrow Connector 13">
            <a:extLst>
              <a:ext uri="{FF2B5EF4-FFF2-40B4-BE49-F238E27FC236}">
                <a16:creationId xmlns:a16="http://schemas.microsoft.com/office/drawing/2014/main" id="{E90D2202-531C-44EC-9D67-7CD0A616BD1B}"/>
              </a:ext>
            </a:extLst>
          </p:cNvPr>
          <p:cNvCxnSpPr>
            <a:cxnSpLocks/>
            <a:stCxn id="164" idx="2"/>
            <a:endCxn id="82" idx="0"/>
          </p:cNvCxnSpPr>
          <p:nvPr/>
        </p:nvCxnSpPr>
        <p:spPr>
          <a:xfrm>
            <a:off x="5987338" y="5692796"/>
            <a:ext cx="0" cy="207394"/>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3" name="Left Brace 32">
            <a:extLst>
              <a:ext uri="{FF2B5EF4-FFF2-40B4-BE49-F238E27FC236}">
                <a16:creationId xmlns:a16="http://schemas.microsoft.com/office/drawing/2014/main" id="{2236F71D-2A14-4399-961C-45634AD06012}"/>
              </a:ext>
            </a:extLst>
          </p:cNvPr>
          <p:cNvSpPr/>
          <p:nvPr/>
        </p:nvSpPr>
        <p:spPr>
          <a:xfrm>
            <a:off x="1697514" y="1909229"/>
            <a:ext cx="559558" cy="3892585"/>
          </a:xfrm>
          <a:prstGeom prst="leftBrace">
            <a:avLst/>
          </a:prstGeom>
          <a:ln>
            <a:solidFill>
              <a:schemeClr val="bg2">
                <a:lumMod val="7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5" name="TextBox 84">
            <a:extLst>
              <a:ext uri="{FF2B5EF4-FFF2-40B4-BE49-F238E27FC236}">
                <a16:creationId xmlns:a16="http://schemas.microsoft.com/office/drawing/2014/main" id="{CBAE190D-092B-4330-9E88-7FDF133D17A5}"/>
              </a:ext>
            </a:extLst>
          </p:cNvPr>
          <p:cNvSpPr txBox="1"/>
          <p:nvPr/>
        </p:nvSpPr>
        <p:spPr>
          <a:xfrm>
            <a:off x="501650" y="3302628"/>
            <a:ext cx="1428854" cy="507831"/>
          </a:xfrm>
          <a:prstGeom prst="rect">
            <a:avLst/>
          </a:prstGeom>
          <a:noFill/>
        </p:spPr>
        <p:txBody>
          <a:bodyPr wrap="square" lIns="0" tIns="0" rIns="0" bIns="0" rtlCol="0">
            <a:spAutoFit/>
          </a:bodyPr>
          <a:lstStyle/>
          <a:p>
            <a:pPr>
              <a:spcBef>
                <a:spcPts val="600"/>
              </a:spcBef>
              <a:buSzPct val="100000"/>
            </a:pPr>
            <a:r>
              <a:rPr lang="en-GB" sz="1100">
                <a:solidFill>
                  <a:srgbClr val="313131"/>
                </a:solidFill>
              </a:rPr>
              <a:t>Categorise Spending Data to match FTE profiles categories</a:t>
            </a:r>
            <a:endParaRPr lang="en-GB" sz="1100" dirty="0">
              <a:solidFill>
                <a:srgbClr val="313131"/>
              </a:solidFill>
            </a:endParaRPr>
          </a:p>
        </p:txBody>
      </p:sp>
      <p:cxnSp>
        <p:nvCxnSpPr>
          <p:cNvPr id="93" name="Connector: Elbow 92">
            <a:extLst>
              <a:ext uri="{FF2B5EF4-FFF2-40B4-BE49-F238E27FC236}">
                <a16:creationId xmlns:a16="http://schemas.microsoft.com/office/drawing/2014/main" id="{EBEDF535-2C49-4CA0-8248-9A738BCAD858}"/>
              </a:ext>
            </a:extLst>
          </p:cNvPr>
          <p:cNvCxnSpPr>
            <a:cxnSpLocks/>
            <a:stCxn id="79" idx="2"/>
            <a:endCxn id="82" idx="3"/>
          </p:cNvCxnSpPr>
          <p:nvPr/>
        </p:nvCxnSpPr>
        <p:spPr>
          <a:xfrm rot="5400000">
            <a:off x="8098327" y="3290641"/>
            <a:ext cx="4422888" cy="1156211"/>
          </a:xfrm>
          <a:prstGeom prst="bentConnector2">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4" name="Rectangle 163">
            <a:extLst>
              <a:ext uri="{FF2B5EF4-FFF2-40B4-BE49-F238E27FC236}">
                <a16:creationId xmlns:a16="http://schemas.microsoft.com/office/drawing/2014/main" id="{71B5D94A-E7ED-483E-A435-6282A1AC57BC}"/>
              </a:ext>
            </a:extLst>
          </p:cNvPr>
          <p:cNvSpPr/>
          <p:nvPr/>
        </p:nvSpPr>
        <p:spPr>
          <a:xfrm>
            <a:off x="2243011" y="5332796"/>
            <a:ext cx="7488654" cy="360000"/>
          </a:xfrm>
          <a:prstGeom prst="rect">
            <a:avLst/>
          </a:prstGeom>
          <a:solidFill>
            <a:srgbClr val="43B0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Spend by Bucket (Less Materials Spend)</a:t>
            </a:r>
            <a:endParaRPr lang="en-GB" sz="1400" dirty="0"/>
          </a:p>
        </p:txBody>
      </p:sp>
      <p:cxnSp>
        <p:nvCxnSpPr>
          <p:cNvPr id="170" name="Straight Arrow Connector 169">
            <a:extLst>
              <a:ext uri="{FF2B5EF4-FFF2-40B4-BE49-F238E27FC236}">
                <a16:creationId xmlns:a16="http://schemas.microsoft.com/office/drawing/2014/main" id="{07E26A56-4AB7-4340-BFB9-67D95E77FF3C}"/>
              </a:ext>
            </a:extLst>
          </p:cNvPr>
          <p:cNvCxnSpPr>
            <a:cxnSpLocks/>
            <a:stCxn id="80" idx="2"/>
            <a:endCxn id="164" idx="0"/>
          </p:cNvCxnSpPr>
          <p:nvPr/>
        </p:nvCxnSpPr>
        <p:spPr>
          <a:xfrm>
            <a:off x="5987338" y="5125402"/>
            <a:ext cx="0" cy="207394"/>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 name="Connector: Elbow 11">
            <a:extLst>
              <a:ext uri="{FF2B5EF4-FFF2-40B4-BE49-F238E27FC236}">
                <a16:creationId xmlns:a16="http://schemas.microsoft.com/office/drawing/2014/main" id="{06FFE4FB-37AF-4947-B028-E480B2C16429}"/>
              </a:ext>
            </a:extLst>
          </p:cNvPr>
          <p:cNvCxnSpPr>
            <a:cxnSpLocks/>
            <a:stCxn id="92" idx="2"/>
            <a:endCxn id="80" idx="0"/>
          </p:cNvCxnSpPr>
          <p:nvPr/>
        </p:nvCxnSpPr>
        <p:spPr>
          <a:xfrm rot="16200000" flipH="1">
            <a:off x="4872497" y="3650561"/>
            <a:ext cx="285354" cy="1944327"/>
          </a:xfrm>
          <a:prstGeom prst="bentConnector3">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CD86860A-D466-40BD-9D83-1CB66D38718D}"/>
              </a:ext>
            </a:extLst>
          </p:cNvPr>
          <p:cNvSpPr/>
          <p:nvPr/>
        </p:nvSpPr>
        <p:spPr>
          <a:xfrm>
            <a:off x="2243011" y="1843897"/>
            <a:ext cx="3600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Capex $</a:t>
            </a:r>
            <a:endParaRPr lang="en-GB" sz="1400" dirty="0"/>
          </a:p>
        </p:txBody>
      </p:sp>
      <p:sp>
        <p:nvSpPr>
          <p:cNvPr id="87" name="Rectangle 86">
            <a:extLst>
              <a:ext uri="{FF2B5EF4-FFF2-40B4-BE49-F238E27FC236}">
                <a16:creationId xmlns:a16="http://schemas.microsoft.com/office/drawing/2014/main" id="{CA27E24B-4C17-4897-8C60-B8B5D5200236}"/>
              </a:ext>
            </a:extLst>
          </p:cNvPr>
          <p:cNvSpPr/>
          <p:nvPr/>
        </p:nvSpPr>
        <p:spPr>
          <a:xfrm>
            <a:off x="6131665" y="1844155"/>
            <a:ext cx="3600000" cy="36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Opex $</a:t>
            </a:r>
            <a:endParaRPr lang="en-GB" sz="1400" dirty="0"/>
          </a:p>
        </p:txBody>
      </p:sp>
      <p:cxnSp>
        <p:nvCxnSpPr>
          <p:cNvPr id="99" name="Connector: Elbow 98">
            <a:extLst>
              <a:ext uri="{FF2B5EF4-FFF2-40B4-BE49-F238E27FC236}">
                <a16:creationId xmlns:a16="http://schemas.microsoft.com/office/drawing/2014/main" id="{650BBD73-6211-4021-A15D-4EF984932E64}"/>
              </a:ext>
            </a:extLst>
          </p:cNvPr>
          <p:cNvCxnSpPr>
            <a:cxnSpLocks/>
            <a:stCxn id="156" idx="2"/>
            <a:endCxn id="80" idx="0"/>
          </p:cNvCxnSpPr>
          <p:nvPr/>
        </p:nvCxnSpPr>
        <p:spPr>
          <a:xfrm rot="5400000">
            <a:off x="6818514" y="3652251"/>
            <a:ext cx="281976" cy="1944327"/>
          </a:xfrm>
          <a:prstGeom prst="bentConnector3">
            <a:avLst>
              <a:gd name="adj1" fmla="val 46690"/>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a:extLst>
              <a:ext uri="{FF2B5EF4-FFF2-40B4-BE49-F238E27FC236}">
                <a16:creationId xmlns:a16="http://schemas.microsoft.com/office/drawing/2014/main" id="{3FCF6F15-C2AF-4667-A1DC-961653244BA5}"/>
              </a:ext>
            </a:extLst>
          </p:cNvPr>
          <p:cNvSpPr/>
          <p:nvPr/>
        </p:nvSpPr>
        <p:spPr bwMode="gray">
          <a:xfrm>
            <a:off x="2243011" y="2989545"/>
            <a:ext cx="3600000" cy="1490503"/>
          </a:xfrm>
          <a:prstGeom prst="rect">
            <a:avLst/>
          </a:prstGeom>
          <a:solidFill>
            <a:schemeClr val="bg1">
              <a:lumMod val="95000"/>
            </a:schemeClr>
          </a:solidFill>
          <a:ln w="19050" algn="ctr">
            <a:solidFill>
              <a:schemeClr val="bg1">
                <a:lumMod val="8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108" name="Group 107">
            <a:extLst>
              <a:ext uri="{FF2B5EF4-FFF2-40B4-BE49-F238E27FC236}">
                <a16:creationId xmlns:a16="http://schemas.microsoft.com/office/drawing/2014/main" id="{AAFB87CA-4376-464A-93B3-8ADFA32C46B8}"/>
              </a:ext>
            </a:extLst>
          </p:cNvPr>
          <p:cNvGrpSpPr/>
          <p:nvPr/>
        </p:nvGrpSpPr>
        <p:grpSpPr>
          <a:xfrm>
            <a:off x="4107992" y="3272106"/>
            <a:ext cx="1260000" cy="1080000"/>
            <a:chOff x="3801064" y="2999669"/>
            <a:chExt cx="1260000" cy="1080000"/>
          </a:xfrm>
        </p:grpSpPr>
        <p:sp>
          <p:nvSpPr>
            <p:cNvPr id="36" name="Text Placeholder 5">
              <a:extLst>
                <a:ext uri="{FF2B5EF4-FFF2-40B4-BE49-F238E27FC236}">
                  <a16:creationId xmlns:a16="http://schemas.microsoft.com/office/drawing/2014/main" id="{39E73F7D-277F-4F7A-8F7A-A3FC34C01557}"/>
                </a:ext>
              </a:extLst>
            </p:cNvPr>
            <p:cNvSpPr txBox="1">
              <a:spLocks noChangeAspect="1"/>
            </p:cNvSpPr>
            <p:nvPr/>
          </p:nvSpPr>
          <p:spPr>
            <a:xfrm>
              <a:off x="3801064" y="2999669"/>
              <a:ext cx="1260000" cy="1080000"/>
            </a:xfrm>
            <a:prstGeom prst="can">
              <a:avLst>
                <a:gd name="adj" fmla="val 17803"/>
              </a:avLst>
            </a:prstGeom>
            <a:solidFill>
              <a:schemeClr val="tx1">
                <a:lumMod val="50000"/>
                <a:lumOff val="50000"/>
              </a:schemeClr>
            </a:solidFill>
            <a:ln w="19050">
              <a:solidFill>
                <a:schemeClr val="tx1"/>
              </a:solidFill>
            </a:ln>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ctr" defTabSz="957263" rtl="0" eaLnBrk="1" fontAlgn="base" latinLnBrk="0" hangingPunct="1">
                <a:lnSpc>
                  <a:spcPct val="100000"/>
                </a:lnSpc>
                <a:spcBef>
                  <a:spcPts val="445"/>
                </a:spcBef>
                <a:spcAft>
                  <a:spcPts val="0"/>
                </a:spcAft>
                <a:buClrTx/>
                <a:buSzTx/>
                <a:buFont typeface="Arial" charset="0"/>
                <a:buNone/>
                <a:tabLst/>
                <a:defRPr/>
              </a:pPr>
              <a:endParaRPr kumimoji="0" lang="en-GB" sz="8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37" name="Text Placeholder 5">
              <a:extLst>
                <a:ext uri="{FF2B5EF4-FFF2-40B4-BE49-F238E27FC236}">
                  <a16:creationId xmlns:a16="http://schemas.microsoft.com/office/drawing/2014/main" id="{D4AB16AE-7629-4834-A943-C6F21A8E0CC7}"/>
                </a:ext>
              </a:extLst>
            </p:cNvPr>
            <p:cNvSpPr txBox="1">
              <a:spLocks noChangeAspect="1"/>
            </p:cNvSpPr>
            <p:nvPr/>
          </p:nvSpPr>
          <p:spPr>
            <a:xfrm>
              <a:off x="3931671" y="3123589"/>
              <a:ext cx="1018467" cy="271230"/>
            </a:xfrm>
            <a:prstGeom prst="can">
              <a:avLst/>
            </a:prstGeom>
            <a:solidFill>
              <a:schemeClr val="tx1"/>
            </a:solidFill>
            <a:ln w="19050">
              <a:solidFill>
                <a:schemeClr val="tx1"/>
              </a:solidFill>
            </a:ln>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ctr" defTabSz="957263" rtl="0" eaLnBrk="1" fontAlgn="base" latinLnBrk="0" hangingPunct="1">
                <a:lnSpc>
                  <a:spcPct val="100000"/>
                </a:lnSpc>
                <a:spcBef>
                  <a:spcPts val="445"/>
                </a:spcBef>
                <a:spcAft>
                  <a:spcPts val="0"/>
                </a:spcAft>
                <a:buClrTx/>
                <a:buSzTx/>
                <a:buFont typeface="Arial" charset="0"/>
                <a:buNone/>
                <a:tabLst/>
                <a:defRPr/>
              </a:pPr>
              <a:r>
                <a:rPr kumimoji="0" lang="en-GB" sz="8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C&amp;I</a:t>
              </a:r>
            </a:p>
          </p:txBody>
        </p:sp>
        <p:sp>
          <p:nvSpPr>
            <p:cNvPr id="38" name="Text Placeholder 5">
              <a:extLst>
                <a:ext uri="{FF2B5EF4-FFF2-40B4-BE49-F238E27FC236}">
                  <a16:creationId xmlns:a16="http://schemas.microsoft.com/office/drawing/2014/main" id="{7D5CE3DB-E8C3-48BE-8B0F-A93FD489590A}"/>
                </a:ext>
              </a:extLst>
            </p:cNvPr>
            <p:cNvSpPr txBox="1">
              <a:spLocks noChangeAspect="1"/>
            </p:cNvSpPr>
            <p:nvPr/>
          </p:nvSpPr>
          <p:spPr>
            <a:xfrm>
              <a:off x="3931671" y="3400935"/>
              <a:ext cx="1018467" cy="271230"/>
            </a:xfrm>
            <a:prstGeom prst="can">
              <a:avLst/>
            </a:prstGeom>
            <a:solidFill>
              <a:schemeClr val="tx1"/>
            </a:solidFill>
            <a:ln w="19050">
              <a:solidFill>
                <a:schemeClr val="tx1"/>
              </a:solidFill>
            </a:ln>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ctr" defTabSz="957263" rtl="0" eaLnBrk="1" fontAlgn="base" latinLnBrk="0" hangingPunct="1">
                <a:lnSpc>
                  <a:spcPct val="100000"/>
                </a:lnSpc>
                <a:spcBef>
                  <a:spcPts val="445"/>
                </a:spcBef>
                <a:spcAft>
                  <a:spcPts val="0"/>
                </a:spcAft>
                <a:buClrTx/>
                <a:buSzTx/>
                <a:buFont typeface="Arial" charset="0"/>
                <a:buNone/>
                <a:tabLst/>
                <a:defRPr/>
              </a:pPr>
              <a:r>
                <a:rPr kumimoji="0" lang="en-GB" sz="8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Design</a:t>
              </a:r>
            </a:p>
          </p:txBody>
        </p:sp>
        <p:sp>
          <p:nvSpPr>
            <p:cNvPr id="39" name="Text Placeholder 5">
              <a:extLst>
                <a:ext uri="{FF2B5EF4-FFF2-40B4-BE49-F238E27FC236}">
                  <a16:creationId xmlns:a16="http://schemas.microsoft.com/office/drawing/2014/main" id="{17C7C8B1-4CBF-419F-A49F-36CFE067C43E}"/>
                </a:ext>
              </a:extLst>
            </p:cNvPr>
            <p:cNvSpPr txBox="1">
              <a:spLocks noChangeAspect="1"/>
            </p:cNvSpPr>
            <p:nvPr/>
          </p:nvSpPr>
          <p:spPr>
            <a:xfrm>
              <a:off x="3931671" y="3690540"/>
              <a:ext cx="1018467" cy="289866"/>
            </a:xfrm>
            <a:prstGeom prst="can">
              <a:avLst/>
            </a:prstGeom>
            <a:solidFill>
              <a:schemeClr val="tx1"/>
            </a:solidFill>
            <a:ln w="19050">
              <a:solidFill>
                <a:schemeClr val="tx1"/>
              </a:solidFill>
            </a:ln>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ctr" defTabSz="957263" rtl="0" eaLnBrk="1" fontAlgn="base" latinLnBrk="0" hangingPunct="1">
                <a:lnSpc>
                  <a:spcPct val="100000"/>
                </a:lnSpc>
                <a:spcBef>
                  <a:spcPts val="445"/>
                </a:spcBef>
                <a:spcAft>
                  <a:spcPts val="0"/>
                </a:spcAft>
                <a:buClrTx/>
                <a:buSzTx/>
                <a:buFont typeface="Arial" charset="0"/>
                <a:buNone/>
                <a:tabLst/>
                <a:defRPr/>
              </a:pPr>
              <a:r>
                <a:rPr kumimoji="0" lang="en-GB" sz="8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Build</a:t>
              </a:r>
            </a:p>
          </p:txBody>
        </p:sp>
      </p:grpSp>
      <p:grpSp>
        <p:nvGrpSpPr>
          <p:cNvPr id="109" name="Group 108">
            <a:extLst>
              <a:ext uri="{FF2B5EF4-FFF2-40B4-BE49-F238E27FC236}">
                <a16:creationId xmlns:a16="http://schemas.microsoft.com/office/drawing/2014/main" id="{CEBD3C1A-E08B-435B-91AC-AD8B0261C79B}"/>
              </a:ext>
            </a:extLst>
          </p:cNvPr>
          <p:cNvGrpSpPr/>
          <p:nvPr/>
        </p:nvGrpSpPr>
        <p:grpSpPr>
          <a:xfrm>
            <a:off x="2520282" y="3272106"/>
            <a:ext cx="1260000" cy="1080000"/>
            <a:chOff x="2226064" y="2994010"/>
            <a:chExt cx="1260000" cy="1080000"/>
          </a:xfrm>
        </p:grpSpPr>
        <p:sp>
          <p:nvSpPr>
            <p:cNvPr id="30" name="Text Placeholder 5">
              <a:extLst>
                <a:ext uri="{FF2B5EF4-FFF2-40B4-BE49-F238E27FC236}">
                  <a16:creationId xmlns:a16="http://schemas.microsoft.com/office/drawing/2014/main" id="{765114D9-B683-4BDF-BF9B-19105CC6113B}"/>
                </a:ext>
              </a:extLst>
            </p:cNvPr>
            <p:cNvSpPr txBox="1">
              <a:spLocks noChangeAspect="1"/>
            </p:cNvSpPr>
            <p:nvPr/>
          </p:nvSpPr>
          <p:spPr>
            <a:xfrm>
              <a:off x="2226064" y="3780048"/>
              <a:ext cx="1260000" cy="293962"/>
            </a:xfrm>
            <a:prstGeom prst="can">
              <a:avLst/>
            </a:prstGeom>
            <a:solidFill>
              <a:schemeClr val="tx1">
                <a:lumMod val="95000"/>
                <a:lumOff val="5000"/>
              </a:schemeClr>
            </a:solidFill>
            <a:ln w="19050">
              <a:solidFill>
                <a:schemeClr val="tx1"/>
              </a:solidFill>
            </a:ln>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lgn="ctr">
                <a:spcBef>
                  <a:spcPts val="445"/>
                </a:spcBef>
                <a:defRPr/>
              </a:pPr>
              <a:r>
                <a:rPr lang="en-GB" sz="800" b="1" dirty="0">
                  <a:solidFill>
                    <a:prstClr val="white"/>
                  </a:solidFill>
                  <a:latin typeface="Calibri Light" panose="020F0302020204030204" pitchFamily="34" charset="0"/>
                  <a:cs typeface="Calibri Light" panose="020F0302020204030204" pitchFamily="34" charset="0"/>
                </a:rPr>
                <a:t>Other Infra. Projects</a:t>
              </a:r>
            </a:p>
          </p:txBody>
        </p:sp>
        <p:sp>
          <p:nvSpPr>
            <p:cNvPr id="31" name="Text Placeholder 5">
              <a:extLst>
                <a:ext uri="{FF2B5EF4-FFF2-40B4-BE49-F238E27FC236}">
                  <a16:creationId xmlns:a16="http://schemas.microsoft.com/office/drawing/2014/main" id="{5DA2F699-7D46-4918-99E2-A7B95560BFE5}"/>
                </a:ext>
              </a:extLst>
            </p:cNvPr>
            <p:cNvSpPr txBox="1">
              <a:spLocks noChangeAspect="1"/>
            </p:cNvSpPr>
            <p:nvPr/>
          </p:nvSpPr>
          <p:spPr>
            <a:xfrm>
              <a:off x="2226064" y="3518036"/>
              <a:ext cx="1260000" cy="293962"/>
            </a:xfrm>
            <a:prstGeom prst="can">
              <a:avLst/>
            </a:prstGeom>
            <a:solidFill>
              <a:srgbClr val="00A3E0"/>
            </a:solidFill>
            <a:ln w="19050">
              <a:solidFill>
                <a:srgbClr val="00A3E0"/>
              </a:solidFill>
            </a:ln>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lgn="ctr">
                <a:spcBef>
                  <a:spcPts val="445"/>
                </a:spcBef>
                <a:defRPr/>
              </a:pPr>
              <a:r>
                <a:rPr lang="en-GB" sz="800" b="1" dirty="0">
                  <a:solidFill>
                    <a:prstClr val="white"/>
                  </a:solidFill>
                  <a:latin typeface="Calibri Light" panose="020F0302020204030204" pitchFamily="34" charset="0"/>
                  <a:cs typeface="Calibri Light" panose="020F0302020204030204" pitchFamily="34" charset="0"/>
                </a:rPr>
                <a:t>Major Projects</a:t>
              </a:r>
            </a:p>
          </p:txBody>
        </p:sp>
        <p:sp>
          <p:nvSpPr>
            <p:cNvPr id="32" name="Text Placeholder 5">
              <a:extLst>
                <a:ext uri="{FF2B5EF4-FFF2-40B4-BE49-F238E27FC236}">
                  <a16:creationId xmlns:a16="http://schemas.microsoft.com/office/drawing/2014/main" id="{419C6626-C833-47CF-A5E4-5EE2E04023F3}"/>
                </a:ext>
              </a:extLst>
            </p:cNvPr>
            <p:cNvSpPr txBox="1">
              <a:spLocks noChangeAspect="1"/>
            </p:cNvSpPr>
            <p:nvPr/>
          </p:nvSpPr>
          <p:spPr>
            <a:xfrm>
              <a:off x="2226064" y="3256023"/>
              <a:ext cx="1260000" cy="293962"/>
            </a:xfrm>
            <a:prstGeom prst="can">
              <a:avLst/>
            </a:prstGeom>
            <a:solidFill>
              <a:srgbClr val="046A38"/>
            </a:solidFill>
            <a:ln w="19050">
              <a:solidFill>
                <a:srgbClr val="046A38"/>
              </a:solidFill>
            </a:ln>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ctr" defTabSz="957263" rtl="0" eaLnBrk="1" fontAlgn="base" latinLnBrk="0" hangingPunct="1">
                <a:lnSpc>
                  <a:spcPct val="100000"/>
                </a:lnSpc>
                <a:spcBef>
                  <a:spcPts val="445"/>
                </a:spcBef>
                <a:spcAft>
                  <a:spcPts val="0"/>
                </a:spcAft>
                <a:buClrTx/>
                <a:buSzTx/>
                <a:buFont typeface="Arial" charset="0"/>
                <a:buNone/>
                <a:tabLst/>
                <a:defRPr/>
              </a:pPr>
              <a:r>
                <a:rPr kumimoji="0" lang="en-GB" sz="8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Complex Projects</a:t>
              </a:r>
            </a:p>
          </p:txBody>
        </p:sp>
        <p:sp>
          <p:nvSpPr>
            <p:cNvPr id="34" name="Text Placeholder 5">
              <a:extLst>
                <a:ext uri="{FF2B5EF4-FFF2-40B4-BE49-F238E27FC236}">
                  <a16:creationId xmlns:a16="http://schemas.microsoft.com/office/drawing/2014/main" id="{2E738E12-3FED-452F-B9DB-10CE0C9D0155}"/>
                </a:ext>
              </a:extLst>
            </p:cNvPr>
            <p:cNvSpPr txBox="1">
              <a:spLocks noChangeAspect="1"/>
            </p:cNvSpPr>
            <p:nvPr/>
          </p:nvSpPr>
          <p:spPr>
            <a:xfrm>
              <a:off x="2226064" y="2994010"/>
              <a:ext cx="1260000" cy="293962"/>
            </a:xfrm>
            <a:prstGeom prst="can">
              <a:avLst/>
            </a:prstGeom>
            <a:solidFill>
              <a:srgbClr val="26890D"/>
            </a:solidFill>
            <a:ln w="19050">
              <a:solidFill>
                <a:schemeClr val="accent3"/>
              </a:solidFill>
            </a:ln>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ctr" defTabSz="957263" rtl="0" eaLnBrk="1" fontAlgn="base" latinLnBrk="0" hangingPunct="1">
                <a:lnSpc>
                  <a:spcPct val="100000"/>
                </a:lnSpc>
                <a:spcBef>
                  <a:spcPts val="445"/>
                </a:spcBef>
                <a:spcAft>
                  <a:spcPts val="0"/>
                </a:spcAft>
                <a:buClrTx/>
                <a:buSzTx/>
                <a:buFont typeface="Arial" charset="0"/>
                <a:buNone/>
                <a:tabLst/>
                <a:defRPr/>
              </a:pPr>
              <a:r>
                <a:rPr kumimoji="0" lang="en-GB" sz="8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Simple Projects</a:t>
              </a:r>
            </a:p>
          </p:txBody>
        </p:sp>
      </p:grpSp>
      <p:sp>
        <p:nvSpPr>
          <p:cNvPr id="107" name="TextBox 106">
            <a:extLst>
              <a:ext uri="{FF2B5EF4-FFF2-40B4-BE49-F238E27FC236}">
                <a16:creationId xmlns:a16="http://schemas.microsoft.com/office/drawing/2014/main" id="{086E59D9-EC53-475B-A169-E89BB48787EC}"/>
              </a:ext>
            </a:extLst>
          </p:cNvPr>
          <p:cNvSpPr txBox="1"/>
          <p:nvPr/>
        </p:nvSpPr>
        <p:spPr>
          <a:xfrm>
            <a:off x="2574949" y="3074015"/>
            <a:ext cx="1260000" cy="169277"/>
          </a:xfrm>
          <a:prstGeom prst="rect">
            <a:avLst/>
          </a:prstGeom>
          <a:noFill/>
        </p:spPr>
        <p:txBody>
          <a:bodyPr wrap="square" lIns="0" tIns="0" rIns="0" bIns="0" rtlCol="0">
            <a:spAutoFit/>
          </a:bodyPr>
          <a:lstStyle/>
          <a:p>
            <a:pPr algn="ctr">
              <a:spcBef>
                <a:spcPts val="600"/>
              </a:spcBef>
              <a:buSzPct val="100000"/>
            </a:pPr>
            <a:r>
              <a:rPr lang="en-GB" sz="1100" b="1">
                <a:solidFill>
                  <a:srgbClr val="313131"/>
                </a:solidFill>
                <a:latin typeface="Calibri Light" panose="020F0302020204030204" pitchFamily="34" charset="0"/>
                <a:cs typeface="Calibri Light" panose="020F0302020204030204" pitchFamily="34" charset="0"/>
              </a:rPr>
              <a:t>Bucket</a:t>
            </a:r>
            <a:endParaRPr lang="en-GB" sz="1100" b="1" dirty="0">
              <a:solidFill>
                <a:srgbClr val="313131"/>
              </a:solidFill>
              <a:latin typeface="Calibri Light" panose="020F0302020204030204" pitchFamily="34" charset="0"/>
              <a:cs typeface="Calibri Light" panose="020F0302020204030204" pitchFamily="34" charset="0"/>
            </a:endParaRPr>
          </a:p>
        </p:txBody>
      </p:sp>
      <p:sp>
        <p:nvSpPr>
          <p:cNvPr id="111" name="TextBox 110">
            <a:extLst>
              <a:ext uri="{FF2B5EF4-FFF2-40B4-BE49-F238E27FC236}">
                <a16:creationId xmlns:a16="http://schemas.microsoft.com/office/drawing/2014/main" id="{82FCB417-07FC-4AF3-A6D4-B03D36F751AD}"/>
              </a:ext>
            </a:extLst>
          </p:cNvPr>
          <p:cNvSpPr txBox="1"/>
          <p:nvPr/>
        </p:nvSpPr>
        <p:spPr>
          <a:xfrm>
            <a:off x="4187893" y="3074015"/>
            <a:ext cx="1260000" cy="169277"/>
          </a:xfrm>
          <a:prstGeom prst="rect">
            <a:avLst/>
          </a:prstGeom>
          <a:noFill/>
        </p:spPr>
        <p:txBody>
          <a:bodyPr wrap="square" lIns="0" tIns="0" rIns="0" bIns="0" rtlCol="0">
            <a:spAutoFit/>
          </a:bodyPr>
          <a:lstStyle/>
          <a:p>
            <a:pPr algn="ctr">
              <a:spcBef>
                <a:spcPts val="600"/>
              </a:spcBef>
              <a:buSzPct val="100000"/>
            </a:pPr>
            <a:r>
              <a:rPr lang="en-GB" sz="1100" b="1">
                <a:solidFill>
                  <a:srgbClr val="313131"/>
                </a:solidFill>
                <a:latin typeface="Calibri Light" panose="020F0302020204030204" pitchFamily="34" charset="0"/>
                <a:cs typeface="Calibri Light" panose="020F0302020204030204" pitchFamily="34" charset="0"/>
              </a:rPr>
              <a:t>Sub-Bucket</a:t>
            </a:r>
            <a:endParaRPr lang="en-GB" sz="1100" b="1" dirty="0">
              <a:solidFill>
                <a:srgbClr val="313131"/>
              </a:solidFill>
              <a:latin typeface="Calibri Light" panose="020F0302020204030204" pitchFamily="34" charset="0"/>
              <a:cs typeface="Calibri Light" panose="020F0302020204030204" pitchFamily="34" charset="0"/>
            </a:endParaRPr>
          </a:p>
        </p:txBody>
      </p:sp>
      <p:sp>
        <p:nvSpPr>
          <p:cNvPr id="117" name="Rectangle 116">
            <a:extLst>
              <a:ext uri="{FF2B5EF4-FFF2-40B4-BE49-F238E27FC236}">
                <a16:creationId xmlns:a16="http://schemas.microsoft.com/office/drawing/2014/main" id="{1762247C-ADAD-43AD-A2D2-943ED86DF21A}"/>
              </a:ext>
            </a:extLst>
          </p:cNvPr>
          <p:cNvSpPr/>
          <p:nvPr/>
        </p:nvSpPr>
        <p:spPr>
          <a:xfrm>
            <a:off x="2243011" y="2390492"/>
            <a:ext cx="3600000" cy="36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Capex spend by bucket</a:t>
            </a:r>
            <a:endParaRPr lang="en-GB" sz="1400" dirty="0"/>
          </a:p>
        </p:txBody>
      </p:sp>
      <p:sp>
        <p:nvSpPr>
          <p:cNvPr id="118" name="Rectangle 117">
            <a:extLst>
              <a:ext uri="{FF2B5EF4-FFF2-40B4-BE49-F238E27FC236}">
                <a16:creationId xmlns:a16="http://schemas.microsoft.com/office/drawing/2014/main" id="{A5C94E5F-8A9F-4F46-BDB5-B3E9BE60EFA5}"/>
              </a:ext>
            </a:extLst>
          </p:cNvPr>
          <p:cNvSpPr/>
          <p:nvPr/>
        </p:nvSpPr>
        <p:spPr>
          <a:xfrm>
            <a:off x="6131665" y="2391008"/>
            <a:ext cx="3600000" cy="360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a:t>Opex spend by bucket</a:t>
            </a:r>
            <a:endParaRPr lang="en-GB" sz="1400" dirty="0"/>
          </a:p>
        </p:txBody>
      </p:sp>
      <p:cxnSp>
        <p:nvCxnSpPr>
          <p:cNvPr id="122" name="Straight Arrow Connector 121">
            <a:extLst>
              <a:ext uri="{FF2B5EF4-FFF2-40B4-BE49-F238E27FC236}">
                <a16:creationId xmlns:a16="http://schemas.microsoft.com/office/drawing/2014/main" id="{29F28E8D-CC44-44BA-AD16-BC29FA5D8D17}"/>
              </a:ext>
            </a:extLst>
          </p:cNvPr>
          <p:cNvCxnSpPr>
            <a:cxnSpLocks/>
            <a:stCxn id="87" idx="2"/>
            <a:endCxn id="118" idx="0"/>
          </p:cNvCxnSpPr>
          <p:nvPr/>
        </p:nvCxnSpPr>
        <p:spPr>
          <a:xfrm>
            <a:off x="7931665" y="2204155"/>
            <a:ext cx="0" cy="186853"/>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5" name="Straight Arrow Connector 124">
            <a:extLst>
              <a:ext uri="{FF2B5EF4-FFF2-40B4-BE49-F238E27FC236}">
                <a16:creationId xmlns:a16="http://schemas.microsoft.com/office/drawing/2014/main" id="{CD3447AE-27F8-4CEA-A0B6-7AF8036F9BE0}"/>
              </a:ext>
            </a:extLst>
          </p:cNvPr>
          <p:cNvCxnSpPr>
            <a:cxnSpLocks/>
            <a:stCxn id="86" idx="2"/>
            <a:endCxn id="117" idx="0"/>
          </p:cNvCxnSpPr>
          <p:nvPr/>
        </p:nvCxnSpPr>
        <p:spPr>
          <a:xfrm>
            <a:off x="4043011" y="2203897"/>
            <a:ext cx="0" cy="186595"/>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76E096C6-F02A-4B52-8624-4DC027244D3A}"/>
              </a:ext>
            </a:extLst>
          </p:cNvPr>
          <p:cNvCxnSpPr>
            <a:cxnSpLocks/>
            <a:stCxn id="117" idx="2"/>
            <a:endCxn id="92" idx="0"/>
          </p:cNvCxnSpPr>
          <p:nvPr/>
        </p:nvCxnSpPr>
        <p:spPr>
          <a:xfrm>
            <a:off x="4043011" y="2750492"/>
            <a:ext cx="0" cy="239053"/>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31" name="Straight Arrow Connector 130">
            <a:extLst>
              <a:ext uri="{FF2B5EF4-FFF2-40B4-BE49-F238E27FC236}">
                <a16:creationId xmlns:a16="http://schemas.microsoft.com/office/drawing/2014/main" id="{AEA2152C-7DD0-45B3-B0E6-E675B8091EB7}"/>
              </a:ext>
            </a:extLst>
          </p:cNvPr>
          <p:cNvCxnSpPr>
            <a:cxnSpLocks/>
            <a:stCxn id="118" idx="2"/>
            <a:endCxn id="156" idx="0"/>
          </p:cNvCxnSpPr>
          <p:nvPr/>
        </p:nvCxnSpPr>
        <p:spPr>
          <a:xfrm>
            <a:off x="7931665" y="2751008"/>
            <a:ext cx="0" cy="241915"/>
          </a:xfrm>
          <a:prstGeom prst="straightConnector1">
            <a:avLst/>
          </a:prstGeom>
          <a:ln>
            <a:solidFill>
              <a:schemeClr val="bg2">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FDF11C21-3F36-459C-981C-EA128328EB84}"/>
              </a:ext>
            </a:extLst>
          </p:cNvPr>
          <p:cNvGrpSpPr/>
          <p:nvPr/>
        </p:nvGrpSpPr>
        <p:grpSpPr>
          <a:xfrm>
            <a:off x="7248810" y="3272106"/>
            <a:ext cx="1260000" cy="1080000"/>
            <a:chOff x="6903802" y="3286610"/>
            <a:chExt cx="1260000" cy="900000"/>
          </a:xfrm>
        </p:grpSpPr>
        <p:sp>
          <p:nvSpPr>
            <p:cNvPr id="41" name="Text Placeholder 5">
              <a:extLst>
                <a:ext uri="{FF2B5EF4-FFF2-40B4-BE49-F238E27FC236}">
                  <a16:creationId xmlns:a16="http://schemas.microsoft.com/office/drawing/2014/main" id="{9CE8AD1B-B44F-47CB-B983-38D18E5A1133}"/>
                </a:ext>
              </a:extLst>
            </p:cNvPr>
            <p:cNvSpPr txBox="1">
              <a:spLocks/>
            </p:cNvSpPr>
            <p:nvPr/>
          </p:nvSpPr>
          <p:spPr>
            <a:xfrm>
              <a:off x="6903802" y="3938214"/>
              <a:ext cx="1260000" cy="248396"/>
            </a:xfrm>
            <a:prstGeom prst="can">
              <a:avLst/>
            </a:prstGeom>
            <a:solidFill>
              <a:schemeClr val="tx1">
                <a:lumMod val="95000"/>
                <a:lumOff val="5000"/>
              </a:schemeClr>
            </a:solidFill>
            <a:ln w="19050">
              <a:solidFill>
                <a:schemeClr val="tx1"/>
              </a:solidFill>
            </a:ln>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lgn="ctr">
                <a:spcBef>
                  <a:spcPts val="445"/>
                </a:spcBef>
                <a:defRPr/>
              </a:pPr>
              <a:r>
                <a:rPr lang="en-GB" sz="800" b="1" dirty="0">
                  <a:solidFill>
                    <a:prstClr val="white"/>
                  </a:solidFill>
                  <a:latin typeface="Calibri Light" panose="020F0302020204030204" pitchFamily="34" charset="0"/>
                  <a:cs typeface="Calibri Light" panose="020F0302020204030204" pitchFamily="34" charset="0"/>
                </a:rPr>
                <a:t>Stormwater Drainage</a:t>
              </a:r>
            </a:p>
          </p:txBody>
        </p:sp>
        <p:sp>
          <p:nvSpPr>
            <p:cNvPr id="42" name="Text Placeholder 5">
              <a:extLst>
                <a:ext uri="{FF2B5EF4-FFF2-40B4-BE49-F238E27FC236}">
                  <a16:creationId xmlns:a16="http://schemas.microsoft.com/office/drawing/2014/main" id="{245E7B00-B994-4CEA-A6ED-1D64C66905FC}"/>
                </a:ext>
              </a:extLst>
            </p:cNvPr>
            <p:cNvSpPr txBox="1">
              <a:spLocks/>
            </p:cNvSpPr>
            <p:nvPr/>
          </p:nvSpPr>
          <p:spPr>
            <a:xfrm>
              <a:off x="6903802" y="3721013"/>
              <a:ext cx="1260000" cy="248396"/>
            </a:xfrm>
            <a:prstGeom prst="can">
              <a:avLst/>
            </a:prstGeom>
            <a:solidFill>
              <a:srgbClr val="00A3E0"/>
            </a:solidFill>
            <a:ln w="19050">
              <a:solidFill>
                <a:srgbClr val="00A3E0"/>
              </a:solidFill>
            </a:ln>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lgn="ctr">
                <a:spcBef>
                  <a:spcPts val="445"/>
                </a:spcBef>
                <a:defRPr/>
              </a:pPr>
              <a:r>
                <a:rPr lang="en-GB" sz="800" b="1" dirty="0">
                  <a:solidFill>
                    <a:prstClr val="white"/>
                  </a:solidFill>
                  <a:latin typeface="Calibri Light" panose="020F0302020204030204" pitchFamily="34" charset="0"/>
                  <a:cs typeface="Calibri Light" panose="020F0302020204030204" pitchFamily="34" charset="0"/>
                </a:rPr>
                <a:t>Wastewater Treatment and Disposal</a:t>
              </a:r>
            </a:p>
          </p:txBody>
        </p:sp>
        <p:sp>
          <p:nvSpPr>
            <p:cNvPr id="43" name="Text Placeholder 5">
              <a:extLst>
                <a:ext uri="{FF2B5EF4-FFF2-40B4-BE49-F238E27FC236}">
                  <a16:creationId xmlns:a16="http://schemas.microsoft.com/office/drawing/2014/main" id="{B21515BC-50F1-4849-A318-10C1AC773B9D}"/>
                </a:ext>
              </a:extLst>
            </p:cNvPr>
            <p:cNvSpPr txBox="1">
              <a:spLocks/>
            </p:cNvSpPr>
            <p:nvPr/>
          </p:nvSpPr>
          <p:spPr>
            <a:xfrm>
              <a:off x="6903802" y="3503811"/>
              <a:ext cx="1260000" cy="248396"/>
            </a:xfrm>
            <a:prstGeom prst="can">
              <a:avLst/>
            </a:prstGeom>
            <a:solidFill>
              <a:srgbClr val="046A38"/>
            </a:solidFill>
            <a:ln w="19050">
              <a:solidFill>
                <a:srgbClr val="046A38"/>
              </a:solidFill>
            </a:ln>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lvl="0" algn="ctr">
                <a:spcBef>
                  <a:spcPts val="445"/>
                </a:spcBef>
                <a:defRPr/>
              </a:pPr>
              <a:r>
                <a:rPr lang="en-GB" sz="800" b="1" dirty="0">
                  <a:solidFill>
                    <a:prstClr val="white"/>
                  </a:solidFill>
                  <a:latin typeface="Calibri Light" panose="020F0302020204030204" pitchFamily="34" charset="0"/>
                  <a:cs typeface="Calibri Light" panose="020F0302020204030204" pitchFamily="34" charset="0"/>
                </a:rPr>
                <a:t>Network Distribution </a:t>
              </a:r>
              <a:endParaRPr kumimoji="0" lang="en-GB" sz="8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endParaRPr>
            </a:p>
          </p:txBody>
        </p:sp>
        <p:sp>
          <p:nvSpPr>
            <p:cNvPr id="44" name="Text Placeholder 5">
              <a:extLst>
                <a:ext uri="{FF2B5EF4-FFF2-40B4-BE49-F238E27FC236}">
                  <a16:creationId xmlns:a16="http://schemas.microsoft.com/office/drawing/2014/main" id="{A293765C-9A2D-458A-A8EC-E565C309020F}"/>
                </a:ext>
              </a:extLst>
            </p:cNvPr>
            <p:cNvSpPr txBox="1">
              <a:spLocks/>
            </p:cNvSpPr>
            <p:nvPr/>
          </p:nvSpPr>
          <p:spPr>
            <a:xfrm>
              <a:off x="6903802" y="3286610"/>
              <a:ext cx="1260000" cy="248396"/>
            </a:xfrm>
            <a:prstGeom prst="can">
              <a:avLst/>
            </a:prstGeom>
            <a:solidFill>
              <a:srgbClr val="26890D"/>
            </a:solidFill>
            <a:ln w="19050">
              <a:solidFill>
                <a:schemeClr val="accent3"/>
              </a:solidFill>
            </a:ln>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ctr" defTabSz="957263" rtl="0" eaLnBrk="1" fontAlgn="base" latinLnBrk="0" hangingPunct="1">
                <a:lnSpc>
                  <a:spcPct val="100000"/>
                </a:lnSpc>
                <a:spcBef>
                  <a:spcPts val="445"/>
                </a:spcBef>
                <a:spcAft>
                  <a:spcPts val="0"/>
                </a:spcAft>
                <a:buClrTx/>
                <a:buSzTx/>
                <a:buFont typeface="Arial" charset="0"/>
                <a:buNone/>
                <a:tabLst/>
                <a:defRPr/>
              </a:pPr>
              <a:r>
                <a:rPr kumimoji="0" lang="en-GB" sz="8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Water Treatment and Supply</a:t>
              </a:r>
            </a:p>
          </p:txBody>
        </p:sp>
      </p:grpSp>
      <p:sp>
        <p:nvSpPr>
          <p:cNvPr id="148" name="TextBox 147">
            <a:extLst>
              <a:ext uri="{FF2B5EF4-FFF2-40B4-BE49-F238E27FC236}">
                <a16:creationId xmlns:a16="http://schemas.microsoft.com/office/drawing/2014/main" id="{CDE5DBF5-93EA-4B5A-8987-707DB85D7A79}"/>
              </a:ext>
            </a:extLst>
          </p:cNvPr>
          <p:cNvSpPr txBox="1"/>
          <p:nvPr/>
        </p:nvSpPr>
        <p:spPr>
          <a:xfrm>
            <a:off x="7248810" y="3074015"/>
            <a:ext cx="1260000" cy="169277"/>
          </a:xfrm>
          <a:prstGeom prst="rect">
            <a:avLst/>
          </a:prstGeom>
          <a:noFill/>
        </p:spPr>
        <p:txBody>
          <a:bodyPr wrap="square" lIns="0" tIns="0" rIns="0" bIns="0" rtlCol="0">
            <a:spAutoFit/>
          </a:bodyPr>
          <a:lstStyle/>
          <a:p>
            <a:pPr algn="ctr">
              <a:spcBef>
                <a:spcPts val="600"/>
              </a:spcBef>
              <a:buSzPct val="100000"/>
            </a:pPr>
            <a:r>
              <a:rPr lang="en-GB" sz="1100" b="1">
                <a:solidFill>
                  <a:srgbClr val="313131"/>
                </a:solidFill>
                <a:latin typeface="Calibri Light" panose="020F0302020204030204" pitchFamily="34" charset="0"/>
                <a:cs typeface="Calibri Light" panose="020F0302020204030204" pitchFamily="34" charset="0"/>
              </a:rPr>
              <a:t>Bucket</a:t>
            </a:r>
            <a:endParaRPr lang="en-GB" sz="1100" b="1" dirty="0">
              <a:solidFill>
                <a:srgbClr val="313131"/>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420625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E9FCB7-B3EE-4876-B4D9-896D077CAB28}"/>
              </a:ext>
            </a:extLst>
          </p:cNvPr>
          <p:cNvSpPr>
            <a:spLocks noGrp="1"/>
          </p:cNvSpPr>
          <p:nvPr>
            <p:ph type="title"/>
          </p:nvPr>
        </p:nvSpPr>
        <p:spPr/>
        <p:txBody>
          <a:bodyPr/>
          <a:lstStyle/>
          <a:p>
            <a:r>
              <a:rPr lang="en-GB"/>
              <a:t>Water Workforce Analysis: The profile of the future workforce may change over time</a:t>
            </a:r>
            <a:endParaRPr lang="en-GB" b="1" dirty="0">
              <a:latin typeface="Calibri Light" panose="020F0302020204030204" pitchFamily="34" charset="0"/>
            </a:endParaRPr>
          </a:p>
        </p:txBody>
      </p:sp>
      <p:sp>
        <p:nvSpPr>
          <p:cNvPr id="3" name="Text Placeholder 2">
            <a:extLst>
              <a:ext uri="{FF2B5EF4-FFF2-40B4-BE49-F238E27FC236}">
                <a16:creationId xmlns:a16="http://schemas.microsoft.com/office/drawing/2014/main" id="{953CCD7D-2A66-4822-90E5-45AFC0712E8C}"/>
              </a:ext>
            </a:extLst>
          </p:cNvPr>
          <p:cNvSpPr>
            <a:spLocks noGrp="1"/>
          </p:cNvSpPr>
          <p:nvPr>
            <p:ph type="body" sz="quarter" idx="13"/>
          </p:nvPr>
        </p:nvSpPr>
        <p:spPr/>
        <p:txBody>
          <a:bodyPr/>
          <a:lstStyle/>
          <a:p>
            <a:r>
              <a:rPr lang="en-GB" dirty="0">
                <a:latin typeface="Calibri Light" panose="020F0302020204030204" pitchFamily="34" charset="0"/>
              </a:rPr>
              <a:t>The modelling allows for different workforce profiles for metro, provincial and rural councils; for capex vs </a:t>
            </a:r>
            <a:r>
              <a:rPr lang="en-GB" dirty="0" err="1">
                <a:latin typeface="Calibri Light" panose="020F0302020204030204" pitchFamily="34" charset="0"/>
              </a:rPr>
              <a:t>opex</a:t>
            </a:r>
            <a:r>
              <a:rPr lang="en-GB" dirty="0">
                <a:latin typeface="Calibri Light" panose="020F0302020204030204" pitchFamily="34" charset="0"/>
              </a:rPr>
              <a:t>; and for different operating models (in-house, contractor or consultant resources).  </a:t>
            </a:r>
          </a:p>
        </p:txBody>
      </p:sp>
      <p:grpSp>
        <p:nvGrpSpPr>
          <p:cNvPr id="12" name="Group 11">
            <a:extLst>
              <a:ext uri="{FF2B5EF4-FFF2-40B4-BE49-F238E27FC236}">
                <a16:creationId xmlns:a16="http://schemas.microsoft.com/office/drawing/2014/main" id="{FFC6551F-9C2E-490E-8B4E-0E26B2F4B4B7}"/>
              </a:ext>
            </a:extLst>
          </p:cNvPr>
          <p:cNvGrpSpPr/>
          <p:nvPr/>
        </p:nvGrpSpPr>
        <p:grpSpPr>
          <a:xfrm>
            <a:off x="8165210" y="1704756"/>
            <a:ext cx="1526866" cy="216376"/>
            <a:chOff x="759561" y="1484934"/>
            <a:chExt cx="1526866" cy="216376"/>
          </a:xfrm>
        </p:grpSpPr>
        <p:sp>
          <p:nvSpPr>
            <p:cNvPr id="10" name="TextBox 9">
              <a:extLst>
                <a:ext uri="{FF2B5EF4-FFF2-40B4-BE49-F238E27FC236}">
                  <a16:creationId xmlns:a16="http://schemas.microsoft.com/office/drawing/2014/main" id="{9A8C6346-3B67-414B-B747-31273434BE57}"/>
                </a:ext>
              </a:extLst>
            </p:cNvPr>
            <p:cNvSpPr txBox="1"/>
            <p:nvPr/>
          </p:nvSpPr>
          <p:spPr>
            <a:xfrm>
              <a:off x="1032681" y="1484934"/>
              <a:ext cx="1253746" cy="215444"/>
            </a:xfrm>
            <a:prstGeom prst="rect">
              <a:avLst/>
            </a:prstGeom>
            <a:noFill/>
          </p:spPr>
          <p:txBody>
            <a:bodyPr wrap="square" lIns="0" tIns="0" rIns="0" bIns="0" rtlCol="0">
              <a:spAutoFit/>
            </a:bodyPr>
            <a:lstStyle/>
            <a:p>
              <a:pPr>
                <a:spcBef>
                  <a:spcPts val="600"/>
                </a:spcBef>
                <a:buSzPct val="100000"/>
              </a:pPr>
              <a:r>
                <a:rPr lang="en-NZ" sz="1400" b="1" dirty="0">
                  <a:solidFill>
                    <a:srgbClr val="313131"/>
                  </a:solidFill>
                </a:rPr>
                <a:t>Contractor roles</a:t>
              </a:r>
            </a:p>
          </p:txBody>
        </p:sp>
        <p:sp>
          <p:nvSpPr>
            <p:cNvPr id="11" name="Rectangle 10">
              <a:extLst>
                <a:ext uri="{FF2B5EF4-FFF2-40B4-BE49-F238E27FC236}">
                  <a16:creationId xmlns:a16="http://schemas.microsoft.com/office/drawing/2014/main" id="{79BCBE62-FAB9-4A69-8C82-A124D58F0A37}"/>
                </a:ext>
              </a:extLst>
            </p:cNvPr>
            <p:cNvSpPr/>
            <p:nvPr/>
          </p:nvSpPr>
          <p:spPr bwMode="gray">
            <a:xfrm>
              <a:off x="759561" y="1485310"/>
              <a:ext cx="216000" cy="216000"/>
            </a:xfrm>
            <a:prstGeom prst="rect">
              <a:avLst/>
            </a:prstGeom>
            <a:solidFill>
              <a:schemeClr val="bg2">
                <a:lumMod val="50000"/>
              </a:schemeClr>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NZ" sz="1600" dirty="0">
                <a:solidFill>
                  <a:schemeClr val="bg1"/>
                </a:solidFill>
              </a:endParaRPr>
            </a:p>
          </p:txBody>
        </p:sp>
      </p:grpSp>
      <p:grpSp>
        <p:nvGrpSpPr>
          <p:cNvPr id="13" name="Group 12">
            <a:extLst>
              <a:ext uri="{FF2B5EF4-FFF2-40B4-BE49-F238E27FC236}">
                <a16:creationId xmlns:a16="http://schemas.microsoft.com/office/drawing/2014/main" id="{FF596F4F-03E7-4A1C-8D3B-D3703F218A34}"/>
              </a:ext>
            </a:extLst>
          </p:cNvPr>
          <p:cNvGrpSpPr/>
          <p:nvPr/>
        </p:nvGrpSpPr>
        <p:grpSpPr>
          <a:xfrm>
            <a:off x="5321789" y="1700836"/>
            <a:ext cx="1527618" cy="224217"/>
            <a:chOff x="746320" y="1495026"/>
            <a:chExt cx="1527618" cy="224217"/>
          </a:xfrm>
        </p:grpSpPr>
        <p:sp>
          <p:nvSpPr>
            <p:cNvPr id="14" name="TextBox 13">
              <a:extLst>
                <a:ext uri="{FF2B5EF4-FFF2-40B4-BE49-F238E27FC236}">
                  <a16:creationId xmlns:a16="http://schemas.microsoft.com/office/drawing/2014/main" id="{9E67254B-822A-4F0E-AFC5-AB87B548CCEA}"/>
                </a:ext>
              </a:extLst>
            </p:cNvPr>
            <p:cNvSpPr txBox="1"/>
            <p:nvPr/>
          </p:nvSpPr>
          <p:spPr>
            <a:xfrm>
              <a:off x="1020192" y="1503799"/>
              <a:ext cx="1253746" cy="215444"/>
            </a:xfrm>
            <a:prstGeom prst="rect">
              <a:avLst/>
            </a:prstGeom>
            <a:noFill/>
          </p:spPr>
          <p:txBody>
            <a:bodyPr wrap="square" lIns="0" tIns="0" rIns="0" bIns="0" rtlCol="0">
              <a:spAutoFit/>
            </a:bodyPr>
            <a:lstStyle/>
            <a:p>
              <a:pPr>
                <a:spcBef>
                  <a:spcPts val="600"/>
                </a:spcBef>
                <a:buSzPct val="100000"/>
              </a:pPr>
              <a:r>
                <a:rPr lang="en-NZ" sz="1400" b="1" dirty="0">
                  <a:solidFill>
                    <a:srgbClr val="313131"/>
                  </a:solidFill>
                </a:rPr>
                <a:t>Consultant roles</a:t>
              </a:r>
            </a:p>
          </p:txBody>
        </p:sp>
        <p:sp>
          <p:nvSpPr>
            <p:cNvPr id="15" name="Rectangle 14">
              <a:extLst>
                <a:ext uri="{FF2B5EF4-FFF2-40B4-BE49-F238E27FC236}">
                  <a16:creationId xmlns:a16="http://schemas.microsoft.com/office/drawing/2014/main" id="{F11F4545-AC8A-47FF-B7B0-75668E7854A8}"/>
                </a:ext>
              </a:extLst>
            </p:cNvPr>
            <p:cNvSpPr/>
            <p:nvPr/>
          </p:nvSpPr>
          <p:spPr bwMode="gray">
            <a:xfrm>
              <a:off x="746320" y="1495026"/>
              <a:ext cx="216000" cy="216000"/>
            </a:xfrm>
            <a:prstGeom prst="rect">
              <a:avLst/>
            </a:prstGeom>
            <a:solidFill>
              <a:srgbClr val="00B0F0"/>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NZ" sz="1600" dirty="0">
                <a:solidFill>
                  <a:schemeClr val="bg1"/>
                </a:solidFill>
              </a:endParaRPr>
            </a:p>
          </p:txBody>
        </p:sp>
      </p:grpSp>
      <p:grpSp>
        <p:nvGrpSpPr>
          <p:cNvPr id="16" name="Group 15">
            <a:extLst>
              <a:ext uri="{FF2B5EF4-FFF2-40B4-BE49-F238E27FC236}">
                <a16:creationId xmlns:a16="http://schemas.microsoft.com/office/drawing/2014/main" id="{05AD1188-8920-4BFA-A47F-F460486BC693}"/>
              </a:ext>
            </a:extLst>
          </p:cNvPr>
          <p:cNvGrpSpPr/>
          <p:nvPr/>
        </p:nvGrpSpPr>
        <p:grpSpPr>
          <a:xfrm>
            <a:off x="2289645" y="1704283"/>
            <a:ext cx="1616785" cy="217322"/>
            <a:chOff x="760123" y="1501921"/>
            <a:chExt cx="1616785" cy="217322"/>
          </a:xfrm>
        </p:grpSpPr>
        <p:sp>
          <p:nvSpPr>
            <p:cNvPr id="17" name="TextBox 16">
              <a:extLst>
                <a:ext uri="{FF2B5EF4-FFF2-40B4-BE49-F238E27FC236}">
                  <a16:creationId xmlns:a16="http://schemas.microsoft.com/office/drawing/2014/main" id="{24EA49F0-AB64-4319-9529-DC3794D9FEF7}"/>
                </a:ext>
              </a:extLst>
            </p:cNvPr>
            <p:cNvSpPr txBox="1"/>
            <p:nvPr/>
          </p:nvSpPr>
          <p:spPr>
            <a:xfrm>
              <a:off x="1020192" y="1503799"/>
              <a:ext cx="1356716" cy="215444"/>
            </a:xfrm>
            <a:prstGeom prst="rect">
              <a:avLst/>
            </a:prstGeom>
            <a:noFill/>
          </p:spPr>
          <p:txBody>
            <a:bodyPr wrap="square" lIns="0" tIns="0" rIns="0" bIns="0" rtlCol="0">
              <a:spAutoFit/>
            </a:bodyPr>
            <a:lstStyle/>
            <a:p>
              <a:pPr>
                <a:spcBef>
                  <a:spcPts val="600"/>
                </a:spcBef>
                <a:buSzPct val="100000"/>
              </a:pPr>
              <a:r>
                <a:rPr lang="en-NZ" sz="1400" b="1" dirty="0">
                  <a:solidFill>
                    <a:srgbClr val="313131"/>
                  </a:solidFill>
                </a:rPr>
                <a:t>In-house roles</a:t>
              </a:r>
            </a:p>
          </p:txBody>
        </p:sp>
        <p:sp>
          <p:nvSpPr>
            <p:cNvPr id="18" name="Rectangle 17">
              <a:extLst>
                <a:ext uri="{FF2B5EF4-FFF2-40B4-BE49-F238E27FC236}">
                  <a16:creationId xmlns:a16="http://schemas.microsoft.com/office/drawing/2014/main" id="{1FF1015A-ED19-45BA-A9AC-3FE59C232021}"/>
                </a:ext>
              </a:extLst>
            </p:cNvPr>
            <p:cNvSpPr>
              <a:spLocks noChangeAspect="1"/>
            </p:cNvSpPr>
            <p:nvPr/>
          </p:nvSpPr>
          <p:spPr bwMode="gray">
            <a:xfrm>
              <a:off x="760123" y="1501921"/>
              <a:ext cx="216000" cy="216000"/>
            </a:xfrm>
            <a:prstGeom prst="rect">
              <a:avLst/>
            </a:prstGeom>
            <a:solidFill>
              <a:schemeClr val="accent2"/>
            </a:solidFill>
            <a:ln w="19050" algn="ctr">
              <a:noFill/>
              <a:miter lim="800000"/>
              <a:headEnd/>
              <a:tailEnd/>
            </a:ln>
            <a:effectLst/>
          </p:spPr>
          <p:txBody>
            <a:bodyPr wrap="square" lIns="88900" tIns="88900" rIns="88900" bIns="88900" rtlCol="0" anchor="ctr"/>
            <a:lstStyle/>
            <a:p>
              <a:pPr algn="ctr">
                <a:lnSpc>
                  <a:spcPct val="106000"/>
                </a:lnSpc>
                <a:buFont typeface="Wingdings 2" pitchFamily="18" charset="2"/>
                <a:buNone/>
              </a:pPr>
              <a:endParaRPr lang="en-NZ" sz="1600" dirty="0">
                <a:solidFill>
                  <a:schemeClr val="bg1"/>
                </a:solidFill>
              </a:endParaRPr>
            </a:p>
          </p:txBody>
        </p:sp>
      </p:grpSp>
      <p:sp>
        <p:nvSpPr>
          <p:cNvPr id="159" name="Rectangle 158">
            <a:extLst>
              <a:ext uri="{FF2B5EF4-FFF2-40B4-BE49-F238E27FC236}">
                <a16:creationId xmlns:a16="http://schemas.microsoft.com/office/drawing/2014/main" id="{12BDA690-DFA7-4CDB-87C2-84867731EC28}"/>
              </a:ext>
            </a:extLst>
          </p:cNvPr>
          <p:cNvSpPr/>
          <p:nvPr/>
        </p:nvSpPr>
        <p:spPr bwMode="gray">
          <a:xfrm>
            <a:off x="516744" y="3364343"/>
            <a:ext cx="219860" cy="16488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60" name="Rectangle 159">
            <a:extLst>
              <a:ext uri="{FF2B5EF4-FFF2-40B4-BE49-F238E27FC236}">
                <a16:creationId xmlns:a16="http://schemas.microsoft.com/office/drawing/2014/main" id="{0D7A2340-D5DB-4546-8AFC-60B9C09C2E19}"/>
              </a:ext>
            </a:extLst>
          </p:cNvPr>
          <p:cNvSpPr/>
          <p:nvPr/>
        </p:nvSpPr>
        <p:spPr bwMode="gray">
          <a:xfrm>
            <a:off x="790057" y="3364343"/>
            <a:ext cx="219860" cy="16488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62" name="Rectangle 161">
            <a:extLst>
              <a:ext uri="{FF2B5EF4-FFF2-40B4-BE49-F238E27FC236}">
                <a16:creationId xmlns:a16="http://schemas.microsoft.com/office/drawing/2014/main" id="{DA475EBF-A5CE-4C7D-8D5D-C287C8BC3B1A}"/>
              </a:ext>
            </a:extLst>
          </p:cNvPr>
          <p:cNvSpPr/>
          <p:nvPr/>
        </p:nvSpPr>
        <p:spPr bwMode="gray">
          <a:xfrm>
            <a:off x="1063370" y="3364343"/>
            <a:ext cx="219860" cy="16488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63" name="Rectangle 162">
            <a:extLst>
              <a:ext uri="{FF2B5EF4-FFF2-40B4-BE49-F238E27FC236}">
                <a16:creationId xmlns:a16="http://schemas.microsoft.com/office/drawing/2014/main" id="{C5070768-7491-465F-992A-A2CEE1AF5AEB}"/>
              </a:ext>
            </a:extLst>
          </p:cNvPr>
          <p:cNvSpPr/>
          <p:nvPr/>
        </p:nvSpPr>
        <p:spPr bwMode="gray">
          <a:xfrm>
            <a:off x="1336683" y="3041070"/>
            <a:ext cx="219860" cy="164885"/>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65" name="Rectangle 164">
            <a:extLst>
              <a:ext uri="{FF2B5EF4-FFF2-40B4-BE49-F238E27FC236}">
                <a16:creationId xmlns:a16="http://schemas.microsoft.com/office/drawing/2014/main" id="{110DEA1A-488E-4671-9B3E-6EFC2182D173}"/>
              </a:ext>
            </a:extLst>
          </p:cNvPr>
          <p:cNvSpPr/>
          <p:nvPr/>
        </p:nvSpPr>
        <p:spPr bwMode="gray">
          <a:xfrm>
            <a:off x="1609996" y="3041070"/>
            <a:ext cx="219860" cy="164885"/>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66" name="Rectangle 165">
            <a:extLst>
              <a:ext uri="{FF2B5EF4-FFF2-40B4-BE49-F238E27FC236}">
                <a16:creationId xmlns:a16="http://schemas.microsoft.com/office/drawing/2014/main" id="{D3DF84E2-6AAA-49EB-BC73-7A34A05614DF}"/>
              </a:ext>
            </a:extLst>
          </p:cNvPr>
          <p:cNvSpPr/>
          <p:nvPr/>
        </p:nvSpPr>
        <p:spPr bwMode="gray">
          <a:xfrm>
            <a:off x="1883309" y="3041070"/>
            <a:ext cx="219860" cy="164885"/>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68" name="Rectangle 167">
            <a:extLst>
              <a:ext uri="{FF2B5EF4-FFF2-40B4-BE49-F238E27FC236}">
                <a16:creationId xmlns:a16="http://schemas.microsoft.com/office/drawing/2014/main" id="{259EAB5B-2277-4013-9F7A-6094AC403951}"/>
              </a:ext>
            </a:extLst>
          </p:cNvPr>
          <p:cNvSpPr/>
          <p:nvPr/>
        </p:nvSpPr>
        <p:spPr bwMode="gray">
          <a:xfrm>
            <a:off x="2156622" y="3041070"/>
            <a:ext cx="219860" cy="164885"/>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69" name="Rectangle 168">
            <a:extLst>
              <a:ext uri="{FF2B5EF4-FFF2-40B4-BE49-F238E27FC236}">
                <a16:creationId xmlns:a16="http://schemas.microsoft.com/office/drawing/2014/main" id="{4A34921F-5453-493E-B51D-6903275672CA}"/>
              </a:ext>
            </a:extLst>
          </p:cNvPr>
          <p:cNvSpPr/>
          <p:nvPr/>
        </p:nvSpPr>
        <p:spPr bwMode="gray">
          <a:xfrm>
            <a:off x="2429935" y="3041070"/>
            <a:ext cx="219860" cy="164885"/>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71" name="Rectangle 170">
            <a:extLst>
              <a:ext uri="{FF2B5EF4-FFF2-40B4-BE49-F238E27FC236}">
                <a16:creationId xmlns:a16="http://schemas.microsoft.com/office/drawing/2014/main" id="{78801E6C-F48F-4240-B0C7-8E069DB87ABB}"/>
              </a:ext>
            </a:extLst>
          </p:cNvPr>
          <p:cNvSpPr/>
          <p:nvPr/>
        </p:nvSpPr>
        <p:spPr bwMode="gray">
          <a:xfrm>
            <a:off x="2703248" y="3041070"/>
            <a:ext cx="219860" cy="164885"/>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72" name="Rectangle 171">
            <a:extLst>
              <a:ext uri="{FF2B5EF4-FFF2-40B4-BE49-F238E27FC236}">
                <a16:creationId xmlns:a16="http://schemas.microsoft.com/office/drawing/2014/main" id="{0D6DE117-9B1A-4655-B65B-2C47D596F08A}"/>
              </a:ext>
            </a:extLst>
          </p:cNvPr>
          <p:cNvSpPr/>
          <p:nvPr/>
        </p:nvSpPr>
        <p:spPr bwMode="gray">
          <a:xfrm>
            <a:off x="2976561" y="3041070"/>
            <a:ext cx="219860" cy="164885"/>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73" name="Rectangle 172">
            <a:extLst>
              <a:ext uri="{FF2B5EF4-FFF2-40B4-BE49-F238E27FC236}">
                <a16:creationId xmlns:a16="http://schemas.microsoft.com/office/drawing/2014/main" id="{99E37BC1-3B18-4CB7-BE04-8B08D17C4246}"/>
              </a:ext>
            </a:extLst>
          </p:cNvPr>
          <p:cNvSpPr/>
          <p:nvPr/>
        </p:nvSpPr>
        <p:spPr bwMode="gray">
          <a:xfrm>
            <a:off x="3249874" y="3041070"/>
            <a:ext cx="219860" cy="164885"/>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75" name="Rectangle 174">
            <a:extLst>
              <a:ext uri="{FF2B5EF4-FFF2-40B4-BE49-F238E27FC236}">
                <a16:creationId xmlns:a16="http://schemas.microsoft.com/office/drawing/2014/main" id="{FCFAD426-9403-4B01-A5F6-E8BFC6BE8719}"/>
              </a:ext>
            </a:extLst>
          </p:cNvPr>
          <p:cNvSpPr/>
          <p:nvPr/>
        </p:nvSpPr>
        <p:spPr bwMode="gray">
          <a:xfrm>
            <a:off x="3523187" y="3041070"/>
            <a:ext cx="219860" cy="164885"/>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76" name="Rectangle 175">
            <a:extLst>
              <a:ext uri="{FF2B5EF4-FFF2-40B4-BE49-F238E27FC236}">
                <a16:creationId xmlns:a16="http://schemas.microsoft.com/office/drawing/2014/main" id="{07DC70D0-CF3C-4D3C-AC11-2BEEAF3C1C5C}"/>
              </a:ext>
            </a:extLst>
          </p:cNvPr>
          <p:cNvSpPr/>
          <p:nvPr/>
        </p:nvSpPr>
        <p:spPr bwMode="gray">
          <a:xfrm>
            <a:off x="3796500" y="3041070"/>
            <a:ext cx="219860" cy="164885"/>
          </a:xfrm>
          <a:prstGeom prst="rect">
            <a:avLst/>
          </a:prstGeom>
          <a:solidFill>
            <a:srgbClr val="43B02A"/>
          </a:solidFill>
          <a:ln w="19050" algn="ctr">
            <a:solidFill>
              <a:srgbClr val="43B02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78" name="Rectangle 177">
            <a:extLst>
              <a:ext uri="{FF2B5EF4-FFF2-40B4-BE49-F238E27FC236}">
                <a16:creationId xmlns:a16="http://schemas.microsoft.com/office/drawing/2014/main" id="{83C703C1-0142-4F20-A94F-CEEEFB6A4E1D}"/>
              </a:ext>
            </a:extLst>
          </p:cNvPr>
          <p:cNvSpPr/>
          <p:nvPr/>
        </p:nvSpPr>
        <p:spPr bwMode="gray">
          <a:xfrm>
            <a:off x="4069813" y="3364343"/>
            <a:ext cx="219860" cy="164885"/>
          </a:xfrm>
          <a:prstGeom prst="rect">
            <a:avLst/>
          </a:prstGeom>
          <a:solidFill>
            <a:srgbClr val="53565A"/>
          </a:solidFill>
          <a:ln w="19050" algn="ctr">
            <a:solidFill>
              <a:srgbClr val="53565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79" name="Rectangle 178">
            <a:extLst>
              <a:ext uri="{FF2B5EF4-FFF2-40B4-BE49-F238E27FC236}">
                <a16:creationId xmlns:a16="http://schemas.microsoft.com/office/drawing/2014/main" id="{942B11F5-12CB-4224-B857-9F88F6DCD010}"/>
              </a:ext>
            </a:extLst>
          </p:cNvPr>
          <p:cNvSpPr/>
          <p:nvPr/>
        </p:nvSpPr>
        <p:spPr bwMode="gray">
          <a:xfrm>
            <a:off x="4343126" y="3364343"/>
            <a:ext cx="219860" cy="164885"/>
          </a:xfrm>
          <a:prstGeom prst="rect">
            <a:avLst/>
          </a:prstGeom>
          <a:solidFill>
            <a:srgbClr val="53565A"/>
          </a:solidFill>
          <a:ln w="19050" algn="ctr">
            <a:solidFill>
              <a:srgbClr val="53565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81" name="Rectangle 180">
            <a:extLst>
              <a:ext uri="{FF2B5EF4-FFF2-40B4-BE49-F238E27FC236}">
                <a16:creationId xmlns:a16="http://schemas.microsoft.com/office/drawing/2014/main" id="{C13252C2-A712-4AFA-BB35-A8D11B073E7C}"/>
              </a:ext>
            </a:extLst>
          </p:cNvPr>
          <p:cNvSpPr/>
          <p:nvPr/>
        </p:nvSpPr>
        <p:spPr bwMode="gray">
          <a:xfrm>
            <a:off x="4616439" y="3364343"/>
            <a:ext cx="219860" cy="164885"/>
          </a:xfrm>
          <a:prstGeom prst="rect">
            <a:avLst/>
          </a:prstGeom>
          <a:solidFill>
            <a:srgbClr val="53565A"/>
          </a:solidFill>
          <a:ln w="19050" algn="ctr">
            <a:solidFill>
              <a:srgbClr val="53565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82" name="Rectangle 181">
            <a:extLst>
              <a:ext uri="{FF2B5EF4-FFF2-40B4-BE49-F238E27FC236}">
                <a16:creationId xmlns:a16="http://schemas.microsoft.com/office/drawing/2014/main" id="{D2F92BDE-9CD5-48D2-A219-923DA415F076}"/>
              </a:ext>
            </a:extLst>
          </p:cNvPr>
          <p:cNvSpPr/>
          <p:nvPr/>
        </p:nvSpPr>
        <p:spPr bwMode="gray">
          <a:xfrm>
            <a:off x="4889752" y="3364343"/>
            <a:ext cx="219860" cy="164885"/>
          </a:xfrm>
          <a:prstGeom prst="rect">
            <a:avLst/>
          </a:prstGeom>
          <a:solidFill>
            <a:srgbClr val="53565A"/>
          </a:solidFill>
          <a:ln w="19050" algn="ctr">
            <a:solidFill>
              <a:srgbClr val="53565A"/>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84" name="Rectangle 183">
            <a:extLst>
              <a:ext uri="{FF2B5EF4-FFF2-40B4-BE49-F238E27FC236}">
                <a16:creationId xmlns:a16="http://schemas.microsoft.com/office/drawing/2014/main" id="{D7B7CDC4-35C7-4DD2-85ED-07BE5943D90A}"/>
              </a:ext>
            </a:extLst>
          </p:cNvPr>
          <p:cNvSpPr/>
          <p:nvPr/>
        </p:nvSpPr>
        <p:spPr bwMode="gray">
          <a:xfrm>
            <a:off x="5163065" y="3041070"/>
            <a:ext cx="219860" cy="16488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85" name="Rectangle 184">
            <a:extLst>
              <a:ext uri="{FF2B5EF4-FFF2-40B4-BE49-F238E27FC236}">
                <a16:creationId xmlns:a16="http://schemas.microsoft.com/office/drawing/2014/main" id="{C8D2D026-EA54-4CBB-AE8C-D4D3A8060EF3}"/>
              </a:ext>
            </a:extLst>
          </p:cNvPr>
          <p:cNvSpPr/>
          <p:nvPr/>
        </p:nvSpPr>
        <p:spPr bwMode="gray">
          <a:xfrm>
            <a:off x="5436378" y="3364343"/>
            <a:ext cx="219860" cy="164885"/>
          </a:xfrm>
          <a:prstGeom prst="rect">
            <a:avLst/>
          </a:prstGeom>
          <a:solidFill>
            <a:srgbClr val="007680"/>
          </a:solidFill>
          <a:ln w="19050" algn="ctr">
            <a:solidFill>
              <a:srgbClr val="00768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86" name="Rectangle 185">
            <a:extLst>
              <a:ext uri="{FF2B5EF4-FFF2-40B4-BE49-F238E27FC236}">
                <a16:creationId xmlns:a16="http://schemas.microsoft.com/office/drawing/2014/main" id="{957EA20E-101C-4A6C-9733-DF71CAE5F500}"/>
              </a:ext>
            </a:extLst>
          </p:cNvPr>
          <p:cNvSpPr/>
          <p:nvPr/>
        </p:nvSpPr>
        <p:spPr bwMode="gray">
          <a:xfrm>
            <a:off x="5709691" y="3364343"/>
            <a:ext cx="219860" cy="164885"/>
          </a:xfrm>
          <a:prstGeom prst="rect">
            <a:avLst/>
          </a:prstGeom>
          <a:solidFill>
            <a:srgbClr val="007680"/>
          </a:solidFill>
          <a:ln w="19050" algn="ctr">
            <a:solidFill>
              <a:srgbClr val="00768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88" name="Rectangle 187">
            <a:extLst>
              <a:ext uri="{FF2B5EF4-FFF2-40B4-BE49-F238E27FC236}">
                <a16:creationId xmlns:a16="http://schemas.microsoft.com/office/drawing/2014/main" id="{BC1A25C6-83F1-41AC-99F9-B4BE2A0012B6}"/>
              </a:ext>
            </a:extLst>
          </p:cNvPr>
          <p:cNvSpPr/>
          <p:nvPr/>
        </p:nvSpPr>
        <p:spPr bwMode="gray">
          <a:xfrm>
            <a:off x="5983004" y="3364343"/>
            <a:ext cx="219860" cy="164885"/>
          </a:xfrm>
          <a:prstGeom prst="rect">
            <a:avLst/>
          </a:prstGeom>
          <a:solidFill>
            <a:srgbClr val="007680"/>
          </a:solidFill>
          <a:ln w="19050" algn="ctr">
            <a:solidFill>
              <a:srgbClr val="00768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89" name="Rectangle 188">
            <a:extLst>
              <a:ext uri="{FF2B5EF4-FFF2-40B4-BE49-F238E27FC236}">
                <a16:creationId xmlns:a16="http://schemas.microsoft.com/office/drawing/2014/main" id="{B56EFA19-5A42-4611-A15B-B42EF709AA2F}"/>
              </a:ext>
            </a:extLst>
          </p:cNvPr>
          <p:cNvSpPr/>
          <p:nvPr/>
        </p:nvSpPr>
        <p:spPr bwMode="gray">
          <a:xfrm>
            <a:off x="6256317" y="3364343"/>
            <a:ext cx="219860" cy="164885"/>
          </a:xfrm>
          <a:prstGeom prst="rect">
            <a:avLst/>
          </a:prstGeom>
          <a:solidFill>
            <a:srgbClr val="007680"/>
          </a:solidFill>
          <a:ln w="19050" algn="ctr">
            <a:solidFill>
              <a:srgbClr val="00768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1" name="Rectangle 190">
            <a:extLst>
              <a:ext uri="{FF2B5EF4-FFF2-40B4-BE49-F238E27FC236}">
                <a16:creationId xmlns:a16="http://schemas.microsoft.com/office/drawing/2014/main" id="{DDA06377-553C-4D4E-B97D-E4F88579786A}"/>
              </a:ext>
            </a:extLst>
          </p:cNvPr>
          <p:cNvSpPr/>
          <p:nvPr/>
        </p:nvSpPr>
        <p:spPr bwMode="gray">
          <a:xfrm>
            <a:off x="6529630" y="3364343"/>
            <a:ext cx="219860" cy="164885"/>
          </a:xfrm>
          <a:prstGeom prst="rect">
            <a:avLst/>
          </a:prstGeom>
          <a:solidFill>
            <a:srgbClr val="007680"/>
          </a:solidFill>
          <a:ln w="19050" algn="ctr">
            <a:solidFill>
              <a:srgbClr val="00768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2" name="Rectangle 191">
            <a:extLst>
              <a:ext uri="{FF2B5EF4-FFF2-40B4-BE49-F238E27FC236}">
                <a16:creationId xmlns:a16="http://schemas.microsoft.com/office/drawing/2014/main" id="{8A1037BA-3704-4A41-97D2-BFEBA0BC5766}"/>
              </a:ext>
            </a:extLst>
          </p:cNvPr>
          <p:cNvSpPr/>
          <p:nvPr/>
        </p:nvSpPr>
        <p:spPr bwMode="gray">
          <a:xfrm>
            <a:off x="6802943" y="3364343"/>
            <a:ext cx="219860" cy="164885"/>
          </a:xfrm>
          <a:prstGeom prst="rect">
            <a:avLst/>
          </a:prstGeom>
          <a:solidFill>
            <a:srgbClr val="007680"/>
          </a:solidFill>
          <a:ln w="19050" algn="ctr">
            <a:solidFill>
              <a:srgbClr val="00768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4" name="Rectangle 193">
            <a:extLst>
              <a:ext uri="{FF2B5EF4-FFF2-40B4-BE49-F238E27FC236}">
                <a16:creationId xmlns:a16="http://schemas.microsoft.com/office/drawing/2014/main" id="{A96BE993-9C08-4407-9B17-2A185802360C}"/>
              </a:ext>
            </a:extLst>
          </p:cNvPr>
          <p:cNvSpPr/>
          <p:nvPr/>
        </p:nvSpPr>
        <p:spPr bwMode="gray">
          <a:xfrm>
            <a:off x="7076256" y="3364343"/>
            <a:ext cx="219860" cy="164885"/>
          </a:xfrm>
          <a:prstGeom prst="rect">
            <a:avLst/>
          </a:prstGeom>
          <a:solidFill>
            <a:srgbClr val="007680"/>
          </a:solidFill>
          <a:ln w="19050" algn="ctr">
            <a:solidFill>
              <a:srgbClr val="00768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5" name="Rectangle 194">
            <a:extLst>
              <a:ext uri="{FF2B5EF4-FFF2-40B4-BE49-F238E27FC236}">
                <a16:creationId xmlns:a16="http://schemas.microsoft.com/office/drawing/2014/main" id="{2D5388E6-1290-4E2D-8214-72A66A76DB3F}"/>
              </a:ext>
            </a:extLst>
          </p:cNvPr>
          <p:cNvSpPr/>
          <p:nvPr/>
        </p:nvSpPr>
        <p:spPr bwMode="gray">
          <a:xfrm>
            <a:off x="7349569" y="3364343"/>
            <a:ext cx="219860" cy="164885"/>
          </a:xfrm>
          <a:prstGeom prst="rect">
            <a:avLst/>
          </a:prstGeom>
          <a:solidFill>
            <a:srgbClr val="007680"/>
          </a:solidFill>
          <a:ln w="19050" algn="ctr">
            <a:solidFill>
              <a:srgbClr val="00768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7" name="Rectangle 196">
            <a:extLst>
              <a:ext uri="{FF2B5EF4-FFF2-40B4-BE49-F238E27FC236}">
                <a16:creationId xmlns:a16="http://schemas.microsoft.com/office/drawing/2014/main" id="{11C7DD17-1A78-4D46-AD25-70BADFC45595}"/>
              </a:ext>
            </a:extLst>
          </p:cNvPr>
          <p:cNvSpPr/>
          <p:nvPr/>
        </p:nvSpPr>
        <p:spPr bwMode="gray">
          <a:xfrm>
            <a:off x="7622882" y="3041070"/>
            <a:ext cx="219860" cy="16488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198" name="Rectangle 197">
            <a:extLst>
              <a:ext uri="{FF2B5EF4-FFF2-40B4-BE49-F238E27FC236}">
                <a16:creationId xmlns:a16="http://schemas.microsoft.com/office/drawing/2014/main" id="{885721F6-ED3C-4079-BE08-83366285F23F}"/>
              </a:ext>
            </a:extLst>
          </p:cNvPr>
          <p:cNvSpPr/>
          <p:nvPr/>
        </p:nvSpPr>
        <p:spPr bwMode="gray">
          <a:xfrm>
            <a:off x="7896195" y="3041070"/>
            <a:ext cx="219860" cy="16488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0" name="Rectangle 199">
            <a:extLst>
              <a:ext uri="{FF2B5EF4-FFF2-40B4-BE49-F238E27FC236}">
                <a16:creationId xmlns:a16="http://schemas.microsoft.com/office/drawing/2014/main" id="{22BAD035-35E3-49AC-BD79-7174579FD399}"/>
              </a:ext>
            </a:extLst>
          </p:cNvPr>
          <p:cNvSpPr/>
          <p:nvPr/>
        </p:nvSpPr>
        <p:spPr bwMode="gray">
          <a:xfrm>
            <a:off x="8169508" y="3041070"/>
            <a:ext cx="219860" cy="16488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1" name="Rectangle 200">
            <a:extLst>
              <a:ext uri="{FF2B5EF4-FFF2-40B4-BE49-F238E27FC236}">
                <a16:creationId xmlns:a16="http://schemas.microsoft.com/office/drawing/2014/main" id="{27A74BB3-8704-4BB3-AD44-B954A47A6AB7}"/>
              </a:ext>
            </a:extLst>
          </p:cNvPr>
          <p:cNvSpPr/>
          <p:nvPr/>
        </p:nvSpPr>
        <p:spPr bwMode="gray">
          <a:xfrm>
            <a:off x="8442821" y="3041070"/>
            <a:ext cx="219860" cy="16488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3" name="Rectangle 202">
            <a:extLst>
              <a:ext uri="{FF2B5EF4-FFF2-40B4-BE49-F238E27FC236}">
                <a16:creationId xmlns:a16="http://schemas.microsoft.com/office/drawing/2014/main" id="{581A27CD-48DF-4893-90A4-B85FB95ACFE5}"/>
              </a:ext>
            </a:extLst>
          </p:cNvPr>
          <p:cNvSpPr/>
          <p:nvPr/>
        </p:nvSpPr>
        <p:spPr bwMode="gray">
          <a:xfrm>
            <a:off x="8716134" y="3041070"/>
            <a:ext cx="219860" cy="16488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4" name="Rectangle 203">
            <a:extLst>
              <a:ext uri="{FF2B5EF4-FFF2-40B4-BE49-F238E27FC236}">
                <a16:creationId xmlns:a16="http://schemas.microsoft.com/office/drawing/2014/main" id="{D320D6B1-2173-49CF-8AAE-5D6B3CDB7B78}"/>
              </a:ext>
            </a:extLst>
          </p:cNvPr>
          <p:cNvSpPr/>
          <p:nvPr/>
        </p:nvSpPr>
        <p:spPr bwMode="gray">
          <a:xfrm>
            <a:off x="8989447" y="3041070"/>
            <a:ext cx="219860" cy="16488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6" name="Rectangle 205">
            <a:extLst>
              <a:ext uri="{FF2B5EF4-FFF2-40B4-BE49-F238E27FC236}">
                <a16:creationId xmlns:a16="http://schemas.microsoft.com/office/drawing/2014/main" id="{4C7755B6-80F6-46F8-8EEF-1B2F039B3423}"/>
              </a:ext>
            </a:extLst>
          </p:cNvPr>
          <p:cNvSpPr/>
          <p:nvPr/>
        </p:nvSpPr>
        <p:spPr bwMode="gray">
          <a:xfrm>
            <a:off x="9262760" y="3041070"/>
            <a:ext cx="219860" cy="16488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7" name="Rectangle 206">
            <a:extLst>
              <a:ext uri="{FF2B5EF4-FFF2-40B4-BE49-F238E27FC236}">
                <a16:creationId xmlns:a16="http://schemas.microsoft.com/office/drawing/2014/main" id="{CC284EA3-9F50-4C5A-9F64-BCB5456A336F}"/>
              </a:ext>
            </a:extLst>
          </p:cNvPr>
          <p:cNvSpPr/>
          <p:nvPr/>
        </p:nvSpPr>
        <p:spPr bwMode="gray">
          <a:xfrm>
            <a:off x="9536073" y="3041070"/>
            <a:ext cx="219860" cy="164885"/>
          </a:xfrm>
          <a:prstGeom prst="rect">
            <a:avLst/>
          </a:prstGeom>
          <a:solidFill>
            <a:schemeClr val="accent3"/>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09" name="Rectangle 208">
            <a:extLst>
              <a:ext uri="{FF2B5EF4-FFF2-40B4-BE49-F238E27FC236}">
                <a16:creationId xmlns:a16="http://schemas.microsoft.com/office/drawing/2014/main" id="{ED638014-7DA0-4A45-A6FE-A7307641B3B2}"/>
              </a:ext>
            </a:extLst>
          </p:cNvPr>
          <p:cNvSpPr/>
          <p:nvPr/>
        </p:nvSpPr>
        <p:spPr bwMode="gray">
          <a:xfrm>
            <a:off x="9809386" y="3364343"/>
            <a:ext cx="219860" cy="164885"/>
          </a:xfrm>
          <a:prstGeom prst="rect">
            <a:avLst/>
          </a:prstGeom>
          <a:solidFill>
            <a:schemeClr val="accent3"/>
          </a:solid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10" name="Rectangle 209">
            <a:extLst>
              <a:ext uri="{FF2B5EF4-FFF2-40B4-BE49-F238E27FC236}">
                <a16:creationId xmlns:a16="http://schemas.microsoft.com/office/drawing/2014/main" id="{4DC417AC-18F4-4CEC-874F-B1C11739839E}"/>
              </a:ext>
            </a:extLst>
          </p:cNvPr>
          <p:cNvSpPr/>
          <p:nvPr/>
        </p:nvSpPr>
        <p:spPr bwMode="gray">
          <a:xfrm>
            <a:off x="10082699" y="3364343"/>
            <a:ext cx="219860" cy="164885"/>
          </a:xfrm>
          <a:prstGeom prst="rect">
            <a:avLst/>
          </a:prstGeom>
          <a:solidFill>
            <a:schemeClr val="accent3"/>
          </a:solid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12" name="Rectangle 211">
            <a:extLst>
              <a:ext uri="{FF2B5EF4-FFF2-40B4-BE49-F238E27FC236}">
                <a16:creationId xmlns:a16="http://schemas.microsoft.com/office/drawing/2014/main" id="{8BBEE47F-22A4-4691-B388-C343F64BC701}"/>
              </a:ext>
            </a:extLst>
          </p:cNvPr>
          <p:cNvSpPr/>
          <p:nvPr/>
        </p:nvSpPr>
        <p:spPr bwMode="gray">
          <a:xfrm>
            <a:off x="10356012" y="3364343"/>
            <a:ext cx="219860" cy="164885"/>
          </a:xfrm>
          <a:prstGeom prst="rect">
            <a:avLst/>
          </a:prstGeom>
          <a:solidFill>
            <a:schemeClr val="accent3"/>
          </a:solidFill>
          <a:ln w="19050" algn="ctr">
            <a:solidFill>
              <a:srgbClr val="00B0F0"/>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13" name="Rectangle 212">
            <a:extLst>
              <a:ext uri="{FF2B5EF4-FFF2-40B4-BE49-F238E27FC236}">
                <a16:creationId xmlns:a16="http://schemas.microsoft.com/office/drawing/2014/main" id="{E2799D00-6109-4FD3-AC88-445D30033C6D}"/>
              </a:ext>
            </a:extLst>
          </p:cNvPr>
          <p:cNvSpPr/>
          <p:nvPr/>
        </p:nvSpPr>
        <p:spPr bwMode="gray">
          <a:xfrm>
            <a:off x="10629325" y="3041070"/>
            <a:ext cx="219860" cy="164885"/>
          </a:xfrm>
          <a:prstGeom prst="rect">
            <a:avLst/>
          </a:prstGeom>
          <a:solidFill>
            <a:schemeClr val="accent3"/>
          </a:solidFill>
          <a:ln w="190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15" name="Rectangle 214">
            <a:extLst>
              <a:ext uri="{FF2B5EF4-FFF2-40B4-BE49-F238E27FC236}">
                <a16:creationId xmlns:a16="http://schemas.microsoft.com/office/drawing/2014/main" id="{0D1BE509-BC53-43E8-B039-C2EE4B4D0A06}"/>
              </a:ext>
            </a:extLst>
          </p:cNvPr>
          <p:cNvSpPr/>
          <p:nvPr/>
        </p:nvSpPr>
        <p:spPr bwMode="gray">
          <a:xfrm>
            <a:off x="10902638" y="3041070"/>
            <a:ext cx="219860" cy="164885"/>
          </a:xfrm>
          <a:prstGeom prst="rect">
            <a:avLst/>
          </a:prstGeom>
          <a:solidFill>
            <a:schemeClr val="accent3"/>
          </a:solidFill>
          <a:ln w="190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16" name="Rectangle 215">
            <a:extLst>
              <a:ext uri="{FF2B5EF4-FFF2-40B4-BE49-F238E27FC236}">
                <a16:creationId xmlns:a16="http://schemas.microsoft.com/office/drawing/2014/main" id="{CB0A75D2-4635-49BA-ABD9-90F9A1A4CED4}"/>
              </a:ext>
            </a:extLst>
          </p:cNvPr>
          <p:cNvSpPr/>
          <p:nvPr/>
        </p:nvSpPr>
        <p:spPr bwMode="gray">
          <a:xfrm>
            <a:off x="11175951" y="3041070"/>
            <a:ext cx="219860" cy="164885"/>
          </a:xfrm>
          <a:prstGeom prst="rect">
            <a:avLst/>
          </a:prstGeom>
          <a:solidFill>
            <a:schemeClr val="accent3"/>
          </a:solidFill>
          <a:ln w="190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218" name="Rectangle 217">
            <a:extLst>
              <a:ext uri="{FF2B5EF4-FFF2-40B4-BE49-F238E27FC236}">
                <a16:creationId xmlns:a16="http://schemas.microsoft.com/office/drawing/2014/main" id="{17FBEC8D-6B3F-4E5E-8907-C693AFD8DA3B}"/>
              </a:ext>
            </a:extLst>
          </p:cNvPr>
          <p:cNvSpPr/>
          <p:nvPr/>
        </p:nvSpPr>
        <p:spPr bwMode="gray">
          <a:xfrm>
            <a:off x="11449251" y="3041070"/>
            <a:ext cx="219860" cy="164885"/>
          </a:xfrm>
          <a:prstGeom prst="rect">
            <a:avLst/>
          </a:prstGeom>
          <a:solidFill>
            <a:schemeClr val="accent3"/>
          </a:solidFill>
          <a:ln w="19050" algn="ctr">
            <a:solidFill>
              <a:srgbClr val="6FC2B4"/>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219" name="Group 218">
            <a:extLst>
              <a:ext uri="{FF2B5EF4-FFF2-40B4-BE49-F238E27FC236}">
                <a16:creationId xmlns:a16="http://schemas.microsoft.com/office/drawing/2014/main" id="{8ADE4085-000B-4405-ABAD-9F622A9A200E}"/>
              </a:ext>
            </a:extLst>
          </p:cNvPr>
          <p:cNvGrpSpPr>
            <a:grpSpLocks noChangeAspect="1"/>
          </p:cNvGrpSpPr>
          <p:nvPr/>
        </p:nvGrpSpPr>
        <p:grpSpPr>
          <a:xfrm>
            <a:off x="750589" y="4734099"/>
            <a:ext cx="648636" cy="648000"/>
            <a:chOff x="373183" y="1623601"/>
            <a:chExt cx="1198686" cy="1260000"/>
          </a:xfrm>
          <a:effectLst>
            <a:outerShdw blurRad="63500" sx="102000" sy="102000" algn="ctr" rotWithShape="0">
              <a:prstClr val="black">
                <a:alpha val="40000"/>
              </a:prstClr>
            </a:outerShdw>
          </a:effectLst>
        </p:grpSpPr>
        <p:sp>
          <p:nvSpPr>
            <p:cNvPr id="221" name="Oval 220">
              <a:extLst>
                <a:ext uri="{FF2B5EF4-FFF2-40B4-BE49-F238E27FC236}">
                  <a16:creationId xmlns:a16="http://schemas.microsoft.com/office/drawing/2014/main" id="{82900707-E0A0-4DF4-BCBB-667A2114F019}"/>
                </a:ext>
              </a:extLst>
            </p:cNvPr>
            <p:cNvSpPr/>
            <p:nvPr/>
          </p:nvSpPr>
          <p:spPr bwMode="gray">
            <a:xfrm>
              <a:off x="373183" y="1623601"/>
              <a:ext cx="1198686" cy="1260000"/>
            </a:xfrm>
            <a:prstGeom prst="ellipse">
              <a:avLst/>
            </a:prstGeom>
            <a:solidFill>
              <a:schemeClr val="bg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22" name="Group 221">
              <a:extLst>
                <a:ext uri="{FF2B5EF4-FFF2-40B4-BE49-F238E27FC236}">
                  <a16:creationId xmlns:a16="http://schemas.microsoft.com/office/drawing/2014/main" id="{9BF82E69-64B8-4270-AA39-8A339AE451C9}"/>
                </a:ext>
              </a:extLst>
            </p:cNvPr>
            <p:cNvGrpSpPr>
              <a:grpSpLocks noChangeAspect="1"/>
            </p:cNvGrpSpPr>
            <p:nvPr/>
          </p:nvGrpSpPr>
          <p:grpSpPr>
            <a:xfrm>
              <a:off x="501651" y="1758602"/>
              <a:ext cx="946330" cy="995712"/>
              <a:chOff x="1803655" y="1995976"/>
              <a:chExt cx="1606754" cy="1709360"/>
            </a:xfrm>
          </p:grpSpPr>
          <p:sp>
            <p:nvSpPr>
              <p:cNvPr id="224" name="Oval 223">
                <a:extLst>
                  <a:ext uri="{FF2B5EF4-FFF2-40B4-BE49-F238E27FC236}">
                    <a16:creationId xmlns:a16="http://schemas.microsoft.com/office/drawing/2014/main" id="{3CC4B4F4-31B5-4737-BE59-F5D426C98B0A}"/>
                  </a:ext>
                </a:extLst>
              </p:cNvPr>
              <p:cNvSpPr/>
              <p:nvPr/>
            </p:nvSpPr>
            <p:spPr bwMode="gray">
              <a:xfrm>
                <a:off x="1803655" y="1995976"/>
                <a:ext cx="1606754" cy="1709360"/>
              </a:xfrm>
              <a:prstGeom prst="ellipse">
                <a:avLst/>
              </a:prstGeom>
              <a:solidFill>
                <a:srgbClr val="1D670A"/>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225" name="Oval 224">
                <a:extLst>
                  <a:ext uri="{FF2B5EF4-FFF2-40B4-BE49-F238E27FC236}">
                    <a16:creationId xmlns:a16="http://schemas.microsoft.com/office/drawing/2014/main" id="{0AC980F9-4BF0-431B-8400-96D789CBB132}"/>
                  </a:ext>
                </a:extLst>
              </p:cNvPr>
              <p:cNvSpPr/>
              <p:nvPr/>
            </p:nvSpPr>
            <p:spPr bwMode="gray">
              <a:xfrm>
                <a:off x="1997257" y="2189180"/>
                <a:ext cx="1231843" cy="131314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sp>
        <p:nvSpPr>
          <p:cNvPr id="227" name="Freeform 585">
            <a:extLst>
              <a:ext uri="{FF2B5EF4-FFF2-40B4-BE49-F238E27FC236}">
                <a16:creationId xmlns:a16="http://schemas.microsoft.com/office/drawing/2014/main" id="{5FB5E588-0FBB-4697-B274-2588E3F9C458}"/>
              </a:ext>
            </a:extLst>
          </p:cNvPr>
          <p:cNvSpPr>
            <a:spLocks noChangeAspect="1" noEditPoints="1"/>
          </p:cNvSpPr>
          <p:nvPr/>
        </p:nvSpPr>
        <p:spPr bwMode="auto">
          <a:xfrm>
            <a:off x="1024296" y="4914098"/>
            <a:ext cx="96453" cy="288000"/>
          </a:xfrm>
          <a:custGeom>
            <a:avLst/>
            <a:gdLst>
              <a:gd name="T0" fmla="*/ 86 w 107"/>
              <a:gd name="T1" fmla="*/ 54 h 320"/>
              <a:gd name="T2" fmla="*/ 96 w 107"/>
              <a:gd name="T3" fmla="*/ 13 h 320"/>
              <a:gd name="T4" fmla="*/ 94 w 107"/>
              <a:gd name="T5" fmla="*/ 4 h 320"/>
              <a:gd name="T6" fmla="*/ 86 w 107"/>
              <a:gd name="T7" fmla="*/ 0 h 320"/>
              <a:gd name="T8" fmla="*/ 22 w 107"/>
              <a:gd name="T9" fmla="*/ 0 h 320"/>
              <a:gd name="T10" fmla="*/ 13 w 107"/>
              <a:gd name="T11" fmla="*/ 4 h 320"/>
              <a:gd name="T12" fmla="*/ 11 w 107"/>
              <a:gd name="T13" fmla="*/ 13 h 320"/>
              <a:gd name="T14" fmla="*/ 22 w 107"/>
              <a:gd name="T15" fmla="*/ 54 h 320"/>
              <a:gd name="T16" fmla="*/ 0 w 107"/>
              <a:gd name="T17" fmla="*/ 255 h 320"/>
              <a:gd name="T18" fmla="*/ 3 w 107"/>
              <a:gd name="T19" fmla="*/ 262 h 320"/>
              <a:gd name="T20" fmla="*/ 45 w 107"/>
              <a:gd name="T21" fmla="*/ 316 h 320"/>
              <a:gd name="T22" fmla="*/ 54 w 107"/>
              <a:gd name="T23" fmla="*/ 320 h 320"/>
              <a:gd name="T24" fmla="*/ 62 w 107"/>
              <a:gd name="T25" fmla="*/ 316 h 320"/>
              <a:gd name="T26" fmla="*/ 105 w 107"/>
              <a:gd name="T27" fmla="*/ 262 h 320"/>
              <a:gd name="T28" fmla="*/ 107 w 107"/>
              <a:gd name="T29" fmla="*/ 255 h 320"/>
              <a:gd name="T30" fmla="*/ 86 w 107"/>
              <a:gd name="T31" fmla="*/ 54 h 320"/>
              <a:gd name="T32" fmla="*/ 72 w 107"/>
              <a:gd name="T33" fmla="*/ 21 h 320"/>
              <a:gd name="T34" fmla="*/ 67 w 107"/>
              <a:gd name="T35" fmla="*/ 42 h 320"/>
              <a:gd name="T36" fmla="*/ 41 w 107"/>
              <a:gd name="T37" fmla="*/ 42 h 320"/>
              <a:gd name="T38" fmla="*/ 35 w 107"/>
              <a:gd name="T39" fmla="*/ 21 h 320"/>
              <a:gd name="T40" fmla="*/ 72 w 107"/>
              <a:gd name="T41" fmla="*/ 21 h 320"/>
              <a:gd name="T42" fmla="*/ 54 w 107"/>
              <a:gd name="T43" fmla="*/ 292 h 320"/>
              <a:gd name="T44" fmla="*/ 22 w 107"/>
              <a:gd name="T45" fmla="*/ 252 h 320"/>
              <a:gd name="T46" fmla="*/ 42 w 107"/>
              <a:gd name="T47" fmla="*/ 64 h 320"/>
              <a:gd name="T48" fmla="*/ 65 w 107"/>
              <a:gd name="T49" fmla="*/ 64 h 320"/>
              <a:gd name="T50" fmla="*/ 85 w 107"/>
              <a:gd name="T51" fmla="*/ 252 h 320"/>
              <a:gd name="T52" fmla="*/ 54 w 107"/>
              <a:gd name="T53" fmla="*/ 292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7" h="320">
                <a:moveTo>
                  <a:pt x="86" y="54"/>
                </a:moveTo>
                <a:cubicBezTo>
                  <a:pt x="96" y="13"/>
                  <a:pt x="96" y="13"/>
                  <a:pt x="96" y="13"/>
                </a:cubicBezTo>
                <a:cubicBezTo>
                  <a:pt x="97" y="10"/>
                  <a:pt x="96" y="6"/>
                  <a:pt x="94" y="4"/>
                </a:cubicBezTo>
                <a:cubicBezTo>
                  <a:pt x="92" y="1"/>
                  <a:pt x="89" y="0"/>
                  <a:pt x="86" y="0"/>
                </a:cubicBezTo>
                <a:cubicBezTo>
                  <a:pt x="22" y="0"/>
                  <a:pt x="22" y="0"/>
                  <a:pt x="22" y="0"/>
                </a:cubicBezTo>
                <a:cubicBezTo>
                  <a:pt x="18" y="0"/>
                  <a:pt x="15" y="1"/>
                  <a:pt x="13" y="4"/>
                </a:cubicBezTo>
                <a:cubicBezTo>
                  <a:pt x="11" y="6"/>
                  <a:pt x="11" y="10"/>
                  <a:pt x="11" y="13"/>
                </a:cubicBezTo>
                <a:cubicBezTo>
                  <a:pt x="22" y="54"/>
                  <a:pt x="22" y="54"/>
                  <a:pt x="22" y="54"/>
                </a:cubicBezTo>
                <a:cubicBezTo>
                  <a:pt x="0" y="255"/>
                  <a:pt x="0" y="255"/>
                  <a:pt x="0" y="255"/>
                </a:cubicBezTo>
                <a:cubicBezTo>
                  <a:pt x="0" y="257"/>
                  <a:pt x="1" y="260"/>
                  <a:pt x="3" y="262"/>
                </a:cubicBezTo>
                <a:cubicBezTo>
                  <a:pt x="45" y="316"/>
                  <a:pt x="45" y="316"/>
                  <a:pt x="45" y="316"/>
                </a:cubicBezTo>
                <a:cubicBezTo>
                  <a:pt x="47" y="318"/>
                  <a:pt x="50" y="320"/>
                  <a:pt x="54" y="320"/>
                </a:cubicBezTo>
                <a:cubicBezTo>
                  <a:pt x="57" y="320"/>
                  <a:pt x="60" y="318"/>
                  <a:pt x="62" y="316"/>
                </a:cubicBezTo>
                <a:cubicBezTo>
                  <a:pt x="105" y="262"/>
                  <a:pt x="105" y="262"/>
                  <a:pt x="105" y="262"/>
                </a:cubicBezTo>
                <a:cubicBezTo>
                  <a:pt x="106" y="260"/>
                  <a:pt x="107" y="257"/>
                  <a:pt x="107" y="255"/>
                </a:cubicBezTo>
                <a:lnTo>
                  <a:pt x="86" y="54"/>
                </a:lnTo>
                <a:close/>
                <a:moveTo>
                  <a:pt x="72" y="21"/>
                </a:moveTo>
                <a:cubicBezTo>
                  <a:pt x="67" y="42"/>
                  <a:pt x="67" y="42"/>
                  <a:pt x="67" y="42"/>
                </a:cubicBezTo>
                <a:cubicBezTo>
                  <a:pt x="41" y="42"/>
                  <a:pt x="41" y="42"/>
                  <a:pt x="41" y="42"/>
                </a:cubicBezTo>
                <a:cubicBezTo>
                  <a:pt x="35" y="21"/>
                  <a:pt x="35" y="21"/>
                  <a:pt x="35" y="21"/>
                </a:cubicBezTo>
                <a:lnTo>
                  <a:pt x="72" y="21"/>
                </a:lnTo>
                <a:close/>
                <a:moveTo>
                  <a:pt x="54" y="292"/>
                </a:moveTo>
                <a:cubicBezTo>
                  <a:pt x="22" y="252"/>
                  <a:pt x="22" y="252"/>
                  <a:pt x="22" y="252"/>
                </a:cubicBezTo>
                <a:cubicBezTo>
                  <a:pt x="42" y="64"/>
                  <a:pt x="42" y="64"/>
                  <a:pt x="42" y="64"/>
                </a:cubicBezTo>
                <a:cubicBezTo>
                  <a:pt x="65" y="64"/>
                  <a:pt x="65" y="64"/>
                  <a:pt x="65" y="64"/>
                </a:cubicBezTo>
                <a:cubicBezTo>
                  <a:pt x="85" y="252"/>
                  <a:pt x="85" y="252"/>
                  <a:pt x="85" y="252"/>
                </a:cubicBezTo>
                <a:lnTo>
                  <a:pt x="54" y="292"/>
                </a:lnTo>
                <a:close/>
              </a:path>
            </a:pathLst>
          </a:custGeom>
          <a:solidFill>
            <a:srgbClr val="1D670A"/>
          </a:solid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28" name="Group 227">
            <a:extLst>
              <a:ext uri="{FF2B5EF4-FFF2-40B4-BE49-F238E27FC236}">
                <a16:creationId xmlns:a16="http://schemas.microsoft.com/office/drawing/2014/main" id="{54DEC70B-82C9-4919-8A7A-C148B4D8EF59}"/>
              </a:ext>
            </a:extLst>
          </p:cNvPr>
          <p:cNvGrpSpPr>
            <a:grpSpLocks noChangeAspect="1"/>
          </p:cNvGrpSpPr>
          <p:nvPr/>
        </p:nvGrpSpPr>
        <p:grpSpPr>
          <a:xfrm>
            <a:off x="2181876" y="4734099"/>
            <a:ext cx="648636" cy="648000"/>
            <a:chOff x="373183" y="1623601"/>
            <a:chExt cx="1198686" cy="1260000"/>
          </a:xfrm>
          <a:effectLst>
            <a:outerShdw blurRad="63500" sx="102000" sy="102000" algn="ctr" rotWithShape="0">
              <a:prstClr val="black">
                <a:alpha val="40000"/>
              </a:prstClr>
            </a:outerShdw>
          </a:effectLst>
        </p:grpSpPr>
        <p:sp>
          <p:nvSpPr>
            <p:cNvPr id="230" name="Oval 229">
              <a:extLst>
                <a:ext uri="{FF2B5EF4-FFF2-40B4-BE49-F238E27FC236}">
                  <a16:creationId xmlns:a16="http://schemas.microsoft.com/office/drawing/2014/main" id="{43EAC531-F7F5-4849-BCBF-9C94D4891EA5}"/>
                </a:ext>
              </a:extLst>
            </p:cNvPr>
            <p:cNvSpPr/>
            <p:nvPr/>
          </p:nvSpPr>
          <p:spPr bwMode="gray">
            <a:xfrm>
              <a:off x="373183" y="1623601"/>
              <a:ext cx="1198686" cy="1260000"/>
            </a:xfrm>
            <a:prstGeom prst="ellipse">
              <a:avLst/>
            </a:prstGeom>
            <a:solidFill>
              <a:schemeClr val="bg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31" name="Group 230">
              <a:extLst>
                <a:ext uri="{FF2B5EF4-FFF2-40B4-BE49-F238E27FC236}">
                  <a16:creationId xmlns:a16="http://schemas.microsoft.com/office/drawing/2014/main" id="{750A733E-DBCA-42AA-A837-F287A78A7F7B}"/>
                </a:ext>
              </a:extLst>
            </p:cNvPr>
            <p:cNvGrpSpPr>
              <a:grpSpLocks noChangeAspect="1"/>
            </p:cNvGrpSpPr>
            <p:nvPr/>
          </p:nvGrpSpPr>
          <p:grpSpPr>
            <a:xfrm>
              <a:off x="501651" y="1758602"/>
              <a:ext cx="946330" cy="995712"/>
              <a:chOff x="1803655" y="1995976"/>
              <a:chExt cx="1606754" cy="1709360"/>
            </a:xfrm>
          </p:grpSpPr>
          <p:sp>
            <p:nvSpPr>
              <p:cNvPr id="233" name="Oval 232">
                <a:extLst>
                  <a:ext uri="{FF2B5EF4-FFF2-40B4-BE49-F238E27FC236}">
                    <a16:creationId xmlns:a16="http://schemas.microsoft.com/office/drawing/2014/main" id="{BE389A36-58F1-497B-AB85-0F572FEF68A3}"/>
                  </a:ext>
                </a:extLst>
              </p:cNvPr>
              <p:cNvSpPr/>
              <p:nvPr/>
            </p:nvSpPr>
            <p:spPr bwMode="gray">
              <a:xfrm>
                <a:off x="1803655" y="1995976"/>
                <a:ext cx="1606754" cy="1709360"/>
              </a:xfrm>
              <a:prstGeom prst="ellipse">
                <a:avLst/>
              </a:prstGeom>
              <a:solidFill>
                <a:srgbClr val="43B02A"/>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234" name="Oval 233">
                <a:extLst>
                  <a:ext uri="{FF2B5EF4-FFF2-40B4-BE49-F238E27FC236}">
                    <a16:creationId xmlns:a16="http://schemas.microsoft.com/office/drawing/2014/main" id="{1C157528-4F6D-4428-A947-191BDF8CB95C}"/>
                  </a:ext>
                </a:extLst>
              </p:cNvPr>
              <p:cNvSpPr/>
              <p:nvPr/>
            </p:nvSpPr>
            <p:spPr bwMode="gray">
              <a:xfrm>
                <a:off x="1997257" y="2189180"/>
                <a:ext cx="1231843" cy="131314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36" name="Group 235">
            <a:extLst>
              <a:ext uri="{FF2B5EF4-FFF2-40B4-BE49-F238E27FC236}">
                <a16:creationId xmlns:a16="http://schemas.microsoft.com/office/drawing/2014/main" id="{94DED92D-FADC-4178-9E8C-C94CF84FA234}"/>
              </a:ext>
            </a:extLst>
          </p:cNvPr>
          <p:cNvGrpSpPr>
            <a:grpSpLocks noChangeAspect="1"/>
          </p:cNvGrpSpPr>
          <p:nvPr/>
        </p:nvGrpSpPr>
        <p:grpSpPr>
          <a:xfrm>
            <a:off x="3613163" y="4734099"/>
            <a:ext cx="648636" cy="648000"/>
            <a:chOff x="373183" y="1623601"/>
            <a:chExt cx="1198686" cy="1260000"/>
          </a:xfrm>
          <a:effectLst>
            <a:outerShdw blurRad="63500" sx="102000" sy="102000" algn="ctr" rotWithShape="0">
              <a:prstClr val="black">
                <a:alpha val="40000"/>
              </a:prstClr>
            </a:outerShdw>
          </a:effectLst>
        </p:grpSpPr>
        <p:sp>
          <p:nvSpPr>
            <p:cNvPr id="237" name="Oval 236">
              <a:extLst>
                <a:ext uri="{FF2B5EF4-FFF2-40B4-BE49-F238E27FC236}">
                  <a16:creationId xmlns:a16="http://schemas.microsoft.com/office/drawing/2014/main" id="{5CD60133-3738-4C6B-98F6-35743718CA9C}"/>
                </a:ext>
              </a:extLst>
            </p:cNvPr>
            <p:cNvSpPr/>
            <p:nvPr/>
          </p:nvSpPr>
          <p:spPr bwMode="gray">
            <a:xfrm>
              <a:off x="373183" y="1623601"/>
              <a:ext cx="1198686" cy="1260000"/>
            </a:xfrm>
            <a:prstGeom prst="ellipse">
              <a:avLst/>
            </a:prstGeom>
            <a:solidFill>
              <a:schemeClr val="bg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39" name="Group 238">
              <a:extLst>
                <a:ext uri="{FF2B5EF4-FFF2-40B4-BE49-F238E27FC236}">
                  <a16:creationId xmlns:a16="http://schemas.microsoft.com/office/drawing/2014/main" id="{32ADFB1B-2938-4629-A02A-B0CE3FD8FD4A}"/>
                </a:ext>
              </a:extLst>
            </p:cNvPr>
            <p:cNvGrpSpPr>
              <a:grpSpLocks noChangeAspect="1"/>
            </p:cNvGrpSpPr>
            <p:nvPr/>
          </p:nvGrpSpPr>
          <p:grpSpPr>
            <a:xfrm>
              <a:off x="501651" y="1758602"/>
              <a:ext cx="946330" cy="995712"/>
              <a:chOff x="1803655" y="1995976"/>
              <a:chExt cx="1606754" cy="1709360"/>
            </a:xfrm>
          </p:grpSpPr>
          <p:sp>
            <p:nvSpPr>
              <p:cNvPr id="240" name="Oval 239">
                <a:extLst>
                  <a:ext uri="{FF2B5EF4-FFF2-40B4-BE49-F238E27FC236}">
                    <a16:creationId xmlns:a16="http://schemas.microsoft.com/office/drawing/2014/main" id="{466FC79C-70DA-4A69-9023-C2CB6092F709}"/>
                  </a:ext>
                </a:extLst>
              </p:cNvPr>
              <p:cNvSpPr/>
              <p:nvPr/>
            </p:nvSpPr>
            <p:spPr bwMode="gray">
              <a:xfrm>
                <a:off x="1803655" y="1995976"/>
                <a:ext cx="1606754" cy="1709360"/>
              </a:xfrm>
              <a:prstGeom prst="ellipse">
                <a:avLst/>
              </a:prstGeom>
              <a:solidFill>
                <a:srgbClr val="53565A"/>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242" name="Oval 241">
                <a:extLst>
                  <a:ext uri="{FF2B5EF4-FFF2-40B4-BE49-F238E27FC236}">
                    <a16:creationId xmlns:a16="http://schemas.microsoft.com/office/drawing/2014/main" id="{E18802BD-3F41-4EDB-9ABE-80D08DA4FB4E}"/>
                  </a:ext>
                </a:extLst>
              </p:cNvPr>
              <p:cNvSpPr/>
              <p:nvPr/>
            </p:nvSpPr>
            <p:spPr bwMode="gray">
              <a:xfrm>
                <a:off x="1997257" y="2189180"/>
                <a:ext cx="1231843" cy="131314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43" name="Group 242">
            <a:extLst>
              <a:ext uri="{FF2B5EF4-FFF2-40B4-BE49-F238E27FC236}">
                <a16:creationId xmlns:a16="http://schemas.microsoft.com/office/drawing/2014/main" id="{84641684-8D14-425A-86B7-AA046B463817}"/>
              </a:ext>
            </a:extLst>
          </p:cNvPr>
          <p:cNvGrpSpPr>
            <a:grpSpLocks noChangeAspect="1"/>
          </p:cNvGrpSpPr>
          <p:nvPr/>
        </p:nvGrpSpPr>
        <p:grpSpPr>
          <a:xfrm>
            <a:off x="5044450" y="4734099"/>
            <a:ext cx="648636" cy="648000"/>
            <a:chOff x="373183" y="1623601"/>
            <a:chExt cx="1198686" cy="1260000"/>
          </a:xfrm>
          <a:effectLst>
            <a:outerShdw blurRad="63500" sx="102000" sy="102000" algn="ctr" rotWithShape="0">
              <a:prstClr val="black">
                <a:alpha val="40000"/>
              </a:prstClr>
            </a:outerShdw>
          </a:effectLst>
        </p:grpSpPr>
        <p:sp>
          <p:nvSpPr>
            <p:cNvPr id="245" name="Oval 244">
              <a:extLst>
                <a:ext uri="{FF2B5EF4-FFF2-40B4-BE49-F238E27FC236}">
                  <a16:creationId xmlns:a16="http://schemas.microsoft.com/office/drawing/2014/main" id="{51395ADE-6E92-4065-AC9D-07B6B9012995}"/>
                </a:ext>
              </a:extLst>
            </p:cNvPr>
            <p:cNvSpPr/>
            <p:nvPr/>
          </p:nvSpPr>
          <p:spPr bwMode="gray">
            <a:xfrm>
              <a:off x="373183" y="1623601"/>
              <a:ext cx="1198686" cy="1260000"/>
            </a:xfrm>
            <a:prstGeom prst="ellipse">
              <a:avLst/>
            </a:prstGeom>
            <a:solidFill>
              <a:schemeClr val="bg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46" name="Group 245">
              <a:extLst>
                <a:ext uri="{FF2B5EF4-FFF2-40B4-BE49-F238E27FC236}">
                  <a16:creationId xmlns:a16="http://schemas.microsoft.com/office/drawing/2014/main" id="{2962047E-ABBA-4708-B2B1-F7DA767F5715}"/>
                </a:ext>
              </a:extLst>
            </p:cNvPr>
            <p:cNvGrpSpPr>
              <a:grpSpLocks noChangeAspect="1"/>
            </p:cNvGrpSpPr>
            <p:nvPr/>
          </p:nvGrpSpPr>
          <p:grpSpPr>
            <a:xfrm>
              <a:off x="501651" y="1758602"/>
              <a:ext cx="946330" cy="995712"/>
              <a:chOff x="1803655" y="1995976"/>
              <a:chExt cx="1606754" cy="1709360"/>
            </a:xfrm>
          </p:grpSpPr>
          <p:sp>
            <p:nvSpPr>
              <p:cNvPr id="248" name="Oval 247">
                <a:extLst>
                  <a:ext uri="{FF2B5EF4-FFF2-40B4-BE49-F238E27FC236}">
                    <a16:creationId xmlns:a16="http://schemas.microsoft.com/office/drawing/2014/main" id="{EE9FADF0-D70F-4A69-927A-B921C8DAAC1E}"/>
                  </a:ext>
                </a:extLst>
              </p:cNvPr>
              <p:cNvSpPr/>
              <p:nvPr/>
            </p:nvSpPr>
            <p:spPr bwMode="gray">
              <a:xfrm>
                <a:off x="1803655" y="1995976"/>
                <a:ext cx="1606754" cy="1709360"/>
              </a:xfrm>
              <a:prstGeom prst="ellipse">
                <a:avLst/>
              </a:prstGeom>
              <a:solidFill>
                <a:srgbClr val="ED8B0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ea typeface="+mn-ea"/>
                    <a:cs typeface="+mn-cs"/>
                  </a:rPr>
                  <a:t>4</a:t>
                </a:r>
              </a:p>
            </p:txBody>
          </p:sp>
          <p:sp>
            <p:nvSpPr>
              <p:cNvPr id="249" name="Oval 248">
                <a:extLst>
                  <a:ext uri="{FF2B5EF4-FFF2-40B4-BE49-F238E27FC236}">
                    <a16:creationId xmlns:a16="http://schemas.microsoft.com/office/drawing/2014/main" id="{DD192A3F-B43A-4E74-9BBC-B2083C9FEB8F}"/>
                  </a:ext>
                </a:extLst>
              </p:cNvPr>
              <p:cNvSpPr/>
              <p:nvPr/>
            </p:nvSpPr>
            <p:spPr bwMode="gray">
              <a:xfrm>
                <a:off x="1997257" y="2189180"/>
                <a:ext cx="1231843" cy="131314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51" name="Group 250">
            <a:extLst>
              <a:ext uri="{FF2B5EF4-FFF2-40B4-BE49-F238E27FC236}">
                <a16:creationId xmlns:a16="http://schemas.microsoft.com/office/drawing/2014/main" id="{826E9C29-2856-4640-94BF-DF88998FC6BC}"/>
              </a:ext>
            </a:extLst>
          </p:cNvPr>
          <p:cNvGrpSpPr>
            <a:grpSpLocks noChangeAspect="1"/>
          </p:cNvGrpSpPr>
          <p:nvPr/>
        </p:nvGrpSpPr>
        <p:grpSpPr>
          <a:xfrm>
            <a:off x="6475737" y="4734099"/>
            <a:ext cx="648636" cy="648000"/>
            <a:chOff x="373183" y="1623601"/>
            <a:chExt cx="1198686" cy="1260000"/>
          </a:xfrm>
          <a:effectLst>
            <a:outerShdw blurRad="63500" sx="102000" sy="102000" algn="ctr" rotWithShape="0">
              <a:prstClr val="black">
                <a:alpha val="40000"/>
              </a:prstClr>
            </a:outerShdw>
          </a:effectLst>
        </p:grpSpPr>
        <p:sp>
          <p:nvSpPr>
            <p:cNvPr id="252" name="Oval 251">
              <a:extLst>
                <a:ext uri="{FF2B5EF4-FFF2-40B4-BE49-F238E27FC236}">
                  <a16:creationId xmlns:a16="http://schemas.microsoft.com/office/drawing/2014/main" id="{0B4045A2-7C76-4B08-A451-3C158F989010}"/>
                </a:ext>
              </a:extLst>
            </p:cNvPr>
            <p:cNvSpPr/>
            <p:nvPr/>
          </p:nvSpPr>
          <p:spPr bwMode="gray">
            <a:xfrm>
              <a:off x="373183" y="1623601"/>
              <a:ext cx="1198686" cy="1260000"/>
            </a:xfrm>
            <a:prstGeom prst="ellipse">
              <a:avLst/>
            </a:prstGeom>
            <a:solidFill>
              <a:schemeClr val="bg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53" name="Group 252">
              <a:extLst>
                <a:ext uri="{FF2B5EF4-FFF2-40B4-BE49-F238E27FC236}">
                  <a16:creationId xmlns:a16="http://schemas.microsoft.com/office/drawing/2014/main" id="{D820A23E-CF6B-4A78-BBA3-263EE4F699CF}"/>
                </a:ext>
              </a:extLst>
            </p:cNvPr>
            <p:cNvGrpSpPr>
              <a:grpSpLocks noChangeAspect="1"/>
            </p:cNvGrpSpPr>
            <p:nvPr/>
          </p:nvGrpSpPr>
          <p:grpSpPr>
            <a:xfrm>
              <a:off x="501651" y="1758602"/>
              <a:ext cx="946330" cy="995712"/>
              <a:chOff x="1803655" y="1995976"/>
              <a:chExt cx="1606754" cy="1709360"/>
            </a:xfrm>
          </p:grpSpPr>
          <p:sp>
            <p:nvSpPr>
              <p:cNvPr id="255" name="Oval 254">
                <a:extLst>
                  <a:ext uri="{FF2B5EF4-FFF2-40B4-BE49-F238E27FC236}">
                    <a16:creationId xmlns:a16="http://schemas.microsoft.com/office/drawing/2014/main" id="{5A86CA03-ABCA-4EA9-99CD-82BF32CA2D12}"/>
                  </a:ext>
                </a:extLst>
              </p:cNvPr>
              <p:cNvSpPr/>
              <p:nvPr/>
            </p:nvSpPr>
            <p:spPr bwMode="gray">
              <a:xfrm>
                <a:off x="1803655" y="1995976"/>
                <a:ext cx="1606754" cy="1709360"/>
              </a:xfrm>
              <a:prstGeom prst="ellipse">
                <a:avLst/>
              </a:prstGeom>
              <a:solidFill>
                <a:srgbClr val="00768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US" sz="1600" b="1" i="0" u="none" strike="noStrike" kern="1200" cap="none" spc="0" normalizeH="0" baseline="0" noProof="0" dirty="0">
                    <a:ln>
                      <a:noFill/>
                    </a:ln>
                    <a:solidFill>
                      <a:prstClr val="white"/>
                    </a:solidFill>
                    <a:effectLst/>
                    <a:uLnTx/>
                    <a:uFillTx/>
                    <a:ea typeface="+mn-ea"/>
                    <a:cs typeface="+mn-cs"/>
                  </a:rPr>
                  <a:t>4</a:t>
                </a:r>
              </a:p>
            </p:txBody>
          </p:sp>
          <p:sp>
            <p:nvSpPr>
              <p:cNvPr id="256" name="Oval 255">
                <a:extLst>
                  <a:ext uri="{FF2B5EF4-FFF2-40B4-BE49-F238E27FC236}">
                    <a16:creationId xmlns:a16="http://schemas.microsoft.com/office/drawing/2014/main" id="{62CC0ADC-2B15-4659-9EF4-29214B35F894}"/>
                  </a:ext>
                </a:extLst>
              </p:cNvPr>
              <p:cNvSpPr/>
              <p:nvPr/>
            </p:nvSpPr>
            <p:spPr bwMode="gray">
              <a:xfrm>
                <a:off x="1997257" y="2189180"/>
                <a:ext cx="1231843" cy="131314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58" name="Group 257">
            <a:extLst>
              <a:ext uri="{FF2B5EF4-FFF2-40B4-BE49-F238E27FC236}">
                <a16:creationId xmlns:a16="http://schemas.microsoft.com/office/drawing/2014/main" id="{C9435094-F81A-48D5-B5A7-030531AE1A91}"/>
              </a:ext>
            </a:extLst>
          </p:cNvPr>
          <p:cNvGrpSpPr>
            <a:grpSpLocks noChangeAspect="1"/>
          </p:cNvGrpSpPr>
          <p:nvPr/>
        </p:nvGrpSpPr>
        <p:grpSpPr>
          <a:xfrm>
            <a:off x="10769601" y="4734099"/>
            <a:ext cx="648636" cy="648000"/>
            <a:chOff x="373183" y="1623601"/>
            <a:chExt cx="1198686" cy="1260000"/>
          </a:xfrm>
          <a:effectLst>
            <a:outerShdw blurRad="63500" sx="102000" sy="102000" algn="ctr" rotWithShape="0">
              <a:prstClr val="black">
                <a:alpha val="40000"/>
              </a:prstClr>
            </a:outerShdw>
          </a:effectLst>
        </p:grpSpPr>
        <p:sp>
          <p:nvSpPr>
            <p:cNvPr id="259" name="Oval 258">
              <a:extLst>
                <a:ext uri="{FF2B5EF4-FFF2-40B4-BE49-F238E27FC236}">
                  <a16:creationId xmlns:a16="http://schemas.microsoft.com/office/drawing/2014/main" id="{56FD71D6-3782-4005-BB6A-4A011128D8E0}"/>
                </a:ext>
              </a:extLst>
            </p:cNvPr>
            <p:cNvSpPr/>
            <p:nvPr/>
          </p:nvSpPr>
          <p:spPr bwMode="gray">
            <a:xfrm>
              <a:off x="373183" y="1623601"/>
              <a:ext cx="1198686" cy="1260000"/>
            </a:xfrm>
            <a:prstGeom prst="ellipse">
              <a:avLst/>
            </a:prstGeom>
            <a:solidFill>
              <a:schemeClr val="bg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61" name="Group 260">
              <a:extLst>
                <a:ext uri="{FF2B5EF4-FFF2-40B4-BE49-F238E27FC236}">
                  <a16:creationId xmlns:a16="http://schemas.microsoft.com/office/drawing/2014/main" id="{74FA78B3-9B6E-4CE0-8370-137878B10A78}"/>
                </a:ext>
              </a:extLst>
            </p:cNvPr>
            <p:cNvGrpSpPr>
              <a:grpSpLocks noChangeAspect="1"/>
            </p:cNvGrpSpPr>
            <p:nvPr/>
          </p:nvGrpSpPr>
          <p:grpSpPr>
            <a:xfrm>
              <a:off x="501651" y="1758602"/>
              <a:ext cx="946330" cy="995712"/>
              <a:chOff x="1803655" y="1995976"/>
              <a:chExt cx="1606754" cy="1709360"/>
            </a:xfrm>
          </p:grpSpPr>
          <p:sp>
            <p:nvSpPr>
              <p:cNvPr id="262" name="Oval 261">
                <a:extLst>
                  <a:ext uri="{FF2B5EF4-FFF2-40B4-BE49-F238E27FC236}">
                    <a16:creationId xmlns:a16="http://schemas.microsoft.com/office/drawing/2014/main" id="{858DEAD6-30B2-4D62-9F92-2B9C6BEAC567}"/>
                  </a:ext>
                </a:extLst>
              </p:cNvPr>
              <p:cNvSpPr/>
              <p:nvPr/>
            </p:nvSpPr>
            <p:spPr bwMode="gray">
              <a:xfrm>
                <a:off x="1803655" y="1995976"/>
                <a:ext cx="1606754" cy="1709360"/>
              </a:xfrm>
              <a:prstGeom prst="ellipse">
                <a:avLst/>
              </a:prstGeom>
              <a:solidFill>
                <a:srgbClr val="6FC2B4"/>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263" name="Oval 262">
                <a:extLst>
                  <a:ext uri="{FF2B5EF4-FFF2-40B4-BE49-F238E27FC236}">
                    <a16:creationId xmlns:a16="http://schemas.microsoft.com/office/drawing/2014/main" id="{042CAB2A-7E15-436F-89FC-E320D68952F5}"/>
                  </a:ext>
                </a:extLst>
              </p:cNvPr>
              <p:cNvSpPr/>
              <p:nvPr/>
            </p:nvSpPr>
            <p:spPr bwMode="gray">
              <a:xfrm>
                <a:off x="1997257" y="2189180"/>
                <a:ext cx="1231843" cy="131314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64" name="Group 263">
            <a:extLst>
              <a:ext uri="{FF2B5EF4-FFF2-40B4-BE49-F238E27FC236}">
                <a16:creationId xmlns:a16="http://schemas.microsoft.com/office/drawing/2014/main" id="{1F6C3D0A-666C-4046-91F1-82EF9FF3CFD6}"/>
              </a:ext>
            </a:extLst>
          </p:cNvPr>
          <p:cNvGrpSpPr>
            <a:grpSpLocks noChangeAspect="1"/>
          </p:cNvGrpSpPr>
          <p:nvPr/>
        </p:nvGrpSpPr>
        <p:grpSpPr>
          <a:xfrm>
            <a:off x="7907024" y="4734099"/>
            <a:ext cx="648636" cy="648000"/>
            <a:chOff x="373183" y="1623601"/>
            <a:chExt cx="1198686" cy="1260000"/>
          </a:xfrm>
          <a:effectLst>
            <a:outerShdw blurRad="63500" sx="102000" sy="102000" algn="ctr" rotWithShape="0">
              <a:prstClr val="black">
                <a:alpha val="40000"/>
              </a:prstClr>
            </a:outerShdw>
          </a:effectLst>
        </p:grpSpPr>
        <p:sp>
          <p:nvSpPr>
            <p:cNvPr id="265" name="Oval 264">
              <a:extLst>
                <a:ext uri="{FF2B5EF4-FFF2-40B4-BE49-F238E27FC236}">
                  <a16:creationId xmlns:a16="http://schemas.microsoft.com/office/drawing/2014/main" id="{F5FA6DA0-7027-4A3D-A1BD-F8D6869E3CF9}"/>
                </a:ext>
              </a:extLst>
            </p:cNvPr>
            <p:cNvSpPr/>
            <p:nvPr/>
          </p:nvSpPr>
          <p:spPr bwMode="gray">
            <a:xfrm>
              <a:off x="373183" y="1623601"/>
              <a:ext cx="1198686" cy="1260000"/>
            </a:xfrm>
            <a:prstGeom prst="ellipse">
              <a:avLst/>
            </a:prstGeom>
            <a:solidFill>
              <a:schemeClr val="bg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66" name="Group 265">
              <a:extLst>
                <a:ext uri="{FF2B5EF4-FFF2-40B4-BE49-F238E27FC236}">
                  <a16:creationId xmlns:a16="http://schemas.microsoft.com/office/drawing/2014/main" id="{7CDB8F29-9A4C-4730-B8E3-C0F3794F2957}"/>
                </a:ext>
              </a:extLst>
            </p:cNvPr>
            <p:cNvGrpSpPr>
              <a:grpSpLocks noChangeAspect="1"/>
            </p:cNvGrpSpPr>
            <p:nvPr/>
          </p:nvGrpSpPr>
          <p:grpSpPr>
            <a:xfrm>
              <a:off x="501651" y="1758602"/>
              <a:ext cx="946330" cy="995712"/>
              <a:chOff x="1803655" y="1995976"/>
              <a:chExt cx="1606754" cy="1709360"/>
            </a:xfrm>
          </p:grpSpPr>
          <p:sp>
            <p:nvSpPr>
              <p:cNvPr id="267" name="Oval 266">
                <a:extLst>
                  <a:ext uri="{FF2B5EF4-FFF2-40B4-BE49-F238E27FC236}">
                    <a16:creationId xmlns:a16="http://schemas.microsoft.com/office/drawing/2014/main" id="{E79E0B30-7877-4265-A04E-D35E6B3452B0}"/>
                  </a:ext>
                </a:extLst>
              </p:cNvPr>
              <p:cNvSpPr/>
              <p:nvPr/>
            </p:nvSpPr>
            <p:spPr bwMode="gray">
              <a:xfrm>
                <a:off x="1803655" y="1995976"/>
                <a:ext cx="1606754" cy="1709360"/>
              </a:xfrm>
              <a:prstGeom prst="ellipse">
                <a:avLst/>
              </a:prstGeom>
              <a:solidFill>
                <a:srgbClr val="012169"/>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268" name="Oval 267">
                <a:extLst>
                  <a:ext uri="{FF2B5EF4-FFF2-40B4-BE49-F238E27FC236}">
                    <a16:creationId xmlns:a16="http://schemas.microsoft.com/office/drawing/2014/main" id="{2B9B98DD-73AB-4231-9BCC-78466E046BB2}"/>
                  </a:ext>
                </a:extLst>
              </p:cNvPr>
              <p:cNvSpPr/>
              <p:nvPr/>
            </p:nvSpPr>
            <p:spPr bwMode="gray">
              <a:xfrm>
                <a:off x="1997257" y="2189180"/>
                <a:ext cx="1231843" cy="131314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grpSp>
        <p:nvGrpSpPr>
          <p:cNvPr id="269" name="Group 268">
            <a:extLst>
              <a:ext uri="{FF2B5EF4-FFF2-40B4-BE49-F238E27FC236}">
                <a16:creationId xmlns:a16="http://schemas.microsoft.com/office/drawing/2014/main" id="{4A28BFBE-74CF-48AE-8E48-5893977579D8}"/>
              </a:ext>
            </a:extLst>
          </p:cNvPr>
          <p:cNvGrpSpPr>
            <a:grpSpLocks noChangeAspect="1"/>
          </p:cNvGrpSpPr>
          <p:nvPr/>
        </p:nvGrpSpPr>
        <p:grpSpPr>
          <a:xfrm>
            <a:off x="9338311" y="4734099"/>
            <a:ext cx="648636" cy="648000"/>
            <a:chOff x="373183" y="1623601"/>
            <a:chExt cx="1198686" cy="1260000"/>
          </a:xfrm>
          <a:effectLst>
            <a:outerShdw blurRad="63500" sx="102000" sy="102000" algn="ctr" rotWithShape="0">
              <a:prstClr val="black">
                <a:alpha val="40000"/>
              </a:prstClr>
            </a:outerShdw>
          </a:effectLst>
        </p:grpSpPr>
        <p:sp>
          <p:nvSpPr>
            <p:cNvPr id="270" name="Oval 269">
              <a:extLst>
                <a:ext uri="{FF2B5EF4-FFF2-40B4-BE49-F238E27FC236}">
                  <a16:creationId xmlns:a16="http://schemas.microsoft.com/office/drawing/2014/main" id="{19CE22E3-17BF-42DC-8022-C96A0B5D5419}"/>
                </a:ext>
              </a:extLst>
            </p:cNvPr>
            <p:cNvSpPr/>
            <p:nvPr/>
          </p:nvSpPr>
          <p:spPr bwMode="gray">
            <a:xfrm>
              <a:off x="373183" y="1623601"/>
              <a:ext cx="1198686" cy="1260000"/>
            </a:xfrm>
            <a:prstGeom prst="ellipse">
              <a:avLst/>
            </a:prstGeom>
            <a:solidFill>
              <a:schemeClr val="bg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nvGrpSpPr>
            <p:cNvPr id="271" name="Group 270">
              <a:extLst>
                <a:ext uri="{FF2B5EF4-FFF2-40B4-BE49-F238E27FC236}">
                  <a16:creationId xmlns:a16="http://schemas.microsoft.com/office/drawing/2014/main" id="{B883A18C-5036-4635-BCCF-C3012F9E5AC3}"/>
                </a:ext>
              </a:extLst>
            </p:cNvPr>
            <p:cNvGrpSpPr>
              <a:grpSpLocks noChangeAspect="1"/>
            </p:cNvGrpSpPr>
            <p:nvPr/>
          </p:nvGrpSpPr>
          <p:grpSpPr>
            <a:xfrm>
              <a:off x="501651" y="1758602"/>
              <a:ext cx="946330" cy="995712"/>
              <a:chOff x="1803655" y="1995976"/>
              <a:chExt cx="1606754" cy="1709360"/>
            </a:xfrm>
          </p:grpSpPr>
          <p:sp>
            <p:nvSpPr>
              <p:cNvPr id="272" name="Oval 271">
                <a:extLst>
                  <a:ext uri="{FF2B5EF4-FFF2-40B4-BE49-F238E27FC236}">
                    <a16:creationId xmlns:a16="http://schemas.microsoft.com/office/drawing/2014/main" id="{28DEF0CB-69A5-4081-AE41-839D4CF50E5E}"/>
                  </a:ext>
                </a:extLst>
              </p:cNvPr>
              <p:cNvSpPr/>
              <p:nvPr/>
            </p:nvSpPr>
            <p:spPr bwMode="gray">
              <a:xfrm>
                <a:off x="1803655" y="1995976"/>
                <a:ext cx="1606754" cy="1709360"/>
              </a:xfrm>
              <a:prstGeom prst="ellipse">
                <a:avLst/>
              </a:prstGeom>
              <a:solidFill>
                <a:srgbClr val="00B0F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sp>
            <p:nvSpPr>
              <p:cNvPr id="273" name="Oval 272">
                <a:extLst>
                  <a:ext uri="{FF2B5EF4-FFF2-40B4-BE49-F238E27FC236}">
                    <a16:creationId xmlns:a16="http://schemas.microsoft.com/office/drawing/2014/main" id="{F697BFDB-0A84-44F5-8353-8AA341382DBC}"/>
                  </a:ext>
                </a:extLst>
              </p:cNvPr>
              <p:cNvSpPr/>
              <p:nvPr/>
            </p:nvSpPr>
            <p:spPr bwMode="gray">
              <a:xfrm>
                <a:off x="1997257" y="2189180"/>
                <a:ext cx="1231843" cy="1313141"/>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US" sz="1600" b="1" i="0" u="none" strike="noStrike" kern="1200" cap="none" spc="0" normalizeH="0" baseline="0" noProof="0" dirty="0">
                  <a:ln>
                    <a:noFill/>
                  </a:ln>
                  <a:solidFill>
                    <a:prstClr val="white"/>
                  </a:solidFill>
                  <a:effectLst/>
                  <a:uLnTx/>
                  <a:uFillTx/>
                  <a:ea typeface="+mn-ea"/>
                  <a:cs typeface="+mn-cs"/>
                </a:endParaRPr>
              </a:p>
            </p:txBody>
          </p:sp>
        </p:grpSp>
      </p:grpSp>
      <p:sp>
        <p:nvSpPr>
          <p:cNvPr id="274" name="Freeform 279">
            <a:extLst>
              <a:ext uri="{FF2B5EF4-FFF2-40B4-BE49-F238E27FC236}">
                <a16:creationId xmlns:a16="http://schemas.microsoft.com/office/drawing/2014/main" id="{C83282DD-B9A6-4456-90D6-CDF7EE583420}"/>
              </a:ext>
            </a:extLst>
          </p:cNvPr>
          <p:cNvSpPr>
            <a:spLocks noEditPoints="1"/>
          </p:cNvSpPr>
          <p:nvPr/>
        </p:nvSpPr>
        <p:spPr bwMode="auto">
          <a:xfrm>
            <a:off x="2397645" y="4958241"/>
            <a:ext cx="233179" cy="199713"/>
          </a:xfrm>
          <a:custGeom>
            <a:avLst/>
            <a:gdLst>
              <a:gd name="T0" fmla="*/ 313 w 325"/>
              <a:gd name="T1" fmla="*/ 175 h 278"/>
              <a:gd name="T2" fmla="*/ 290 w 325"/>
              <a:gd name="T3" fmla="*/ 154 h 278"/>
              <a:gd name="T4" fmla="*/ 247 w 325"/>
              <a:gd name="T5" fmla="*/ 44 h 278"/>
              <a:gd name="T6" fmla="*/ 230 w 325"/>
              <a:gd name="T7" fmla="*/ 29 h 278"/>
              <a:gd name="T8" fmla="*/ 194 w 325"/>
              <a:gd name="T9" fmla="*/ 11 h 278"/>
              <a:gd name="T10" fmla="*/ 140 w 325"/>
              <a:gd name="T11" fmla="*/ 0 h 278"/>
              <a:gd name="T12" fmla="*/ 130 w 325"/>
              <a:gd name="T13" fmla="*/ 14 h 278"/>
              <a:gd name="T14" fmla="*/ 82 w 325"/>
              <a:gd name="T15" fmla="*/ 35 h 278"/>
              <a:gd name="T16" fmla="*/ 76 w 325"/>
              <a:gd name="T17" fmla="*/ 50 h 278"/>
              <a:gd name="T18" fmla="*/ 34 w 325"/>
              <a:gd name="T19" fmla="*/ 168 h 278"/>
              <a:gd name="T20" fmla="*/ 4 w 325"/>
              <a:gd name="T21" fmla="*/ 183 h 278"/>
              <a:gd name="T22" fmla="*/ 24 w 325"/>
              <a:gd name="T23" fmla="*/ 262 h 278"/>
              <a:gd name="T24" fmla="*/ 162 w 325"/>
              <a:gd name="T25" fmla="*/ 278 h 278"/>
              <a:gd name="T26" fmla="*/ 163 w 325"/>
              <a:gd name="T27" fmla="*/ 278 h 278"/>
              <a:gd name="T28" fmla="*/ 300 w 325"/>
              <a:gd name="T29" fmla="*/ 262 h 278"/>
              <a:gd name="T30" fmla="*/ 320 w 325"/>
              <a:gd name="T31" fmla="*/ 183 h 278"/>
              <a:gd name="T32" fmla="*/ 76 w 325"/>
              <a:gd name="T33" fmla="*/ 86 h 278"/>
              <a:gd name="T34" fmla="*/ 87 w 325"/>
              <a:gd name="T35" fmla="*/ 155 h 278"/>
              <a:gd name="T36" fmla="*/ 98 w 325"/>
              <a:gd name="T37" fmla="*/ 51 h 278"/>
              <a:gd name="T38" fmla="*/ 130 w 325"/>
              <a:gd name="T39" fmla="*/ 36 h 278"/>
              <a:gd name="T40" fmla="*/ 123 w 325"/>
              <a:gd name="T41" fmla="*/ 91 h 278"/>
              <a:gd name="T42" fmla="*/ 141 w 325"/>
              <a:gd name="T43" fmla="*/ 102 h 278"/>
              <a:gd name="T44" fmla="*/ 151 w 325"/>
              <a:gd name="T45" fmla="*/ 83 h 278"/>
              <a:gd name="T46" fmla="*/ 151 w 325"/>
              <a:gd name="T47" fmla="*/ 22 h 278"/>
              <a:gd name="T48" fmla="*/ 172 w 325"/>
              <a:gd name="T49" fmla="*/ 23 h 278"/>
              <a:gd name="T50" fmla="*/ 174 w 325"/>
              <a:gd name="T51" fmla="*/ 88 h 278"/>
              <a:gd name="T52" fmla="*/ 185 w 325"/>
              <a:gd name="T53" fmla="*/ 105 h 278"/>
              <a:gd name="T54" fmla="*/ 189 w 325"/>
              <a:gd name="T55" fmla="*/ 107 h 278"/>
              <a:gd name="T56" fmla="*/ 191 w 325"/>
              <a:gd name="T57" fmla="*/ 107 h 278"/>
              <a:gd name="T58" fmla="*/ 193 w 325"/>
              <a:gd name="T59" fmla="*/ 107 h 278"/>
              <a:gd name="T60" fmla="*/ 200 w 325"/>
              <a:gd name="T61" fmla="*/ 91 h 278"/>
              <a:gd name="T62" fmla="*/ 194 w 325"/>
              <a:gd name="T63" fmla="*/ 36 h 278"/>
              <a:gd name="T64" fmla="*/ 226 w 325"/>
              <a:gd name="T65" fmla="*/ 51 h 278"/>
              <a:gd name="T66" fmla="*/ 236 w 325"/>
              <a:gd name="T67" fmla="*/ 155 h 278"/>
              <a:gd name="T68" fmla="*/ 247 w 325"/>
              <a:gd name="T69" fmla="*/ 86 h 278"/>
              <a:gd name="T70" fmla="*/ 268 w 325"/>
              <a:gd name="T71" fmla="*/ 187 h 278"/>
              <a:gd name="T72" fmla="*/ 55 w 325"/>
              <a:gd name="T73" fmla="*/ 188 h 278"/>
              <a:gd name="T74" fmla="*/ 300 w 325"/>
              <a:gd name="T75" fmla="*/ 213 h 278"/>
              <a:gd name="T76" fmla="*/ 163 w 325"/>
              <a:gd name="T77" fmla="*/ 256 h 278"/>
              <a:gd name="T78" fmla="*/ 162 w 325"/>
              <a:gd name="T79" fmla="*/ 256 h 278"/>
              <a:gd name="T80" fmla="*/ 24 w 325"/>
              <a:gd name="T81" fmla="*/ 213 h 278"/>
              <a:gd name="T82" fmla="*/ 34 w 325"/>
              <a:gd name="T83" fmla="*/ 191 h 278"/>
              <a:gd name="T84" fmla="*/ 36 w 325"/>
              <a:gd name="T85" fmla="*/ 199 h 278"/>
              <a:gd name="T86" fmla="*/ 285 w 325"/>
              <a:gd name="T87" fmla="*/ 201 h 278"/>
              <a:gd name="T88" fmla="*/ 290 w 325"/>
              <a:gd name="T89" fmla="*/ 191 h 278"/>
              <a:gd name="T90" fmla="*/ 300 w 325"/>
              <a:gd name="T91" fmla="*/ 21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5" h="278">
                <a:moveTo>
                  <a:pt x="320" y="183"/>
                </a:moveTo>
                <a:cubicBezTo>
                  <a:pt x="320" y="180"/>
                  <a:pt x="317" y="176"/>
                  <a:pt x="313" y="175"/>
                </a:cubicBezTo>
                <a:cubicBezTo>
                  <a:pt x="290" y="168"/>
                  <a:pt x="290" y="168"/>
                  <a:pt x="290" y="168"/>
                </a:cubicBezTo>
                <a:cubicBezTo>
                  <a:pt x="290" y="154"/>
                  <a:pt x="290" y="154"/>
                  <a:pt x="290" y="154"/>
                </a:cubicBezTo>
                <a:cubicBezTo>
                  <a:pt x="290" y="119"/>
                  <a:pt x="279" y="80"/>
                  <a:pt x="247" y="50"/>
                </a:cubicBezTo>
                <a:cubicBezTo>
                  <a:pt x="247" y="44"/>
                  <a:pt x="247" y="44"/>
                  <a:pt x="247" y="44"/>
                </a:cubicBezTo>
                <a:cubicBezTo>
                  <a:pt x="247" y="40"/>
                  <a:pt x="245" y="37"/>
                  <a:pt x="241" y="35"/>
                </a:cubicBezTo>
                <a:cubicBezTo>
                  <a:pt x="237" y="33"/>
                  <a:pt x="233" y="31"/>
                  <a:pt x="230" y="29"/>
                </a:cubicBezTo>
                <a:cubicBezTo>
                  <a:pt x="218" y="23"/>
                  <a:pt x="207" y="17"/>
                  <a:pt x="194" y="14"/>
                </a:cubicBezTo>
                <a:cubicBezTo>
                  <a:pt x="194" y="11"/>
                  <a:pt x="194" y="11"/>
                  <a:pt x="194" y="11"/>
                </a:cubicBezTo>
                <a:cubicBezTo>
                  <a:pt x="194" y="5"/>
                  <a:pt x="189" y="0"/>
                  <a:pt x="183" y="0"/>
                </a:cubicBezTo>
                <a:cubicBezTo>
                  <a:pt x="140" y="0"/>
                  <a:pt x="140" y="0"/>
                  <a:pt x="140" y="0"/>
                </a:cubicBezTo>
                <a:cubicBezTo>
                  <a:pt x="134" y="0"/>
                  <a:pt x="130" y="5"/>
                  <a:pt x="130" y="11"/>
                </a:cubicBezTo>
                <a:cubicBezTo>
                  <a:pt x="130" y="14"/>
                  <a:pt x="130" y="14"/>
                  <a:pt x="130" y="14"/>
                </a:cubicBezTo>
                <a:cubicBezTo>
                  <a:pt x="116" y="17"/>
                  <a:pt x="106" y="23"/>
                  <a:pt x="93" y="29"/>
                </a:cubicBezTo>
                <a:cubicBezTo>
                  <a:pt x="90" y="31"/>
                  <a:pt x="86" y="33"/>
                  <a:pt x="82" y="35"/>
                </a:cubicBezTo>
                <a:cubicBezTo>
                  <a:pt x="79" y="37"/>
                  <a:pt x="76" y="40"/>
                  <a:pt x="76" y="44"/>
                </a:cubicBezTo>
                <a:cubicBezTo>
                  <a:pt x="76" y="50"/>
                  <a:pt x="76" y="50"/>
                  <a:pt x="76" y="50"/>
                </a:cubicBezTo>
                <a:cubicBezTo>
                  <a:pt x="44" y="80"/>
                  <a:pt x="34" y="119"/>
                  <a:pt x="34" y="154"/>
                </a:cubicBezTo>
                <a:cubicBezTo>
                  <a:pt x="34" y="168"/>
                  <a:pt x="34" y="168"/>
                  <a:pt x="34" y="168"/>
                </a:cubicBezTo>
                <a:cubicBezTo>
                  <a:pt x="11" y="175"/>
                  <a:pt x="11" y="175"/>
                  <a:pt x="11" y="175"/>
                </a:cubicBezTo>
                <a:cubicBezTo>
                  <a:pt x="7" y="177"/>
                  <a:pt x="5" y="180"/>
                  <a:pt x="4" y="183"/>
                </a:cubicBezTo>
                <a:cubicBezTo>
                  <a:pt x="3" y="185"/>
                  <a:pt x="0" y="204"/>
                  <a:pt x="3" y="219"/>
                </a:cubicBezTo>
                <a:cubicBezTo>
                  <a:pt x="7" y="233"/>
                  <a:pt x="22" y="259"/>
                  <a:pt x="24" y="262"/>
                </a:cubicBezTo>
                <a:cubicBezTo>
                  <a:pt x="24" y="263"/>
                  <a:pt x="25" y="264"/>
                  <a:pt x="25" y="264"/>
                </a:cubicBezTo>
                <a:cubicBezTo>
                  <a:pt x="34" y="273"/>
                  <a:pt x="80" y="278"/>
                  <a:pt x="162" y="278"/>
                </a:cubicBezTo>
                <a:cubicBezTo>
                  <a:pt x="162" y="278"/>
                  <a:pt x="162" y="278"/>
                  <a:pt x="162" y="278"/>
                </a:cubicBezTo>
                <a:cubicBezTo>
                  <a:pt x="162" y="278"/>
                  <a:pt x="162" y="278"/>
                  <a:pt x="163" y="278"/>
                </a:cubicBezTo>
                <a:cubicBezTo>
                  <a:pt x="244" y="278"/>
                  <a:pt x="290" y="273"/>
                  <a:pt x="299" y="264"/>
                </a:cubicBezTo>
                <a:cubicBezTo>
                  <a:pt x="299" y="264"/>
                  <a:pt x="300" y="263"/>
                  <a:pt x="300" y="262"/>
                </a:cubicBezTo>
                <a:cubicBezTo>
                  <a:pt x="302" y="259"/>
                  <a:pt x="317" y="233"/>
                  <a:pt x="321" y="219"/>
                </a:cubicBezTo>
                <a:cubicBezTo>
                  <a:pt x="325" y="204"/>
                  <a:pt x="321" y="185"/>
                  <a:pt x="320" y="183"/>
                </a:cubicBezTo>
                <a:close/>
                <a:moveTo>
                  <a:pt x="55" y="154"/>
                </a:moveTo>
                <a:cubicBezTo>
                  <a:pt x="55" y="126"/>
                  <a:pt x="66" y="103"/>
                  <a:pt x="76" y="86"/>
                </a:cubicBezTo>
                <a:cubicBezTo>
                  <a:pt x="76" y="144"/>
                  <a:pt x="76" y="144"/>
                  <a:pt x="76" y="144"/>
                </a:cubicBezTo>
                <a:cubicBezTo>
                  <a:pt x="76" y="150"/>
                  <a:pt x="81" y="155"/>
                  <a:pt x="87" y="155"/>
                </a:cubicBezTo>
                <a:cubicBezTo>
                  <a:pt x="93" y="155"/>
                  <a:pt x="98" y="150"/>
                  <a:pt x="98" y="144"/>
                </a:cubicBezTo>
                <a:cubicBezTo>
                  <a:pt x="98" y="51"/>
                  <a:pt x="98" y="51"/>
                  <a:pt x="98" y="51"/>
                </a:cubicBezTo>
                <a:cubicBezTo>
                  <a:pt x="98" y="50"/>
                  <a:pt x="101" y="49"/>
                  <a:pt x="103" y="48"/>
                </a:cubicBezTo>
                <a:cubicBezTo>
                  <a:pt x="113" y="43"/>
                  <a:pt x="119" y="39"/>
                  <a:pt x="130" y="36"/>
                </a:cubicBezTo>
                <a:cubicBezTo>
                  <a:pt x="130" y="80"/>
                  <a:pt x="130" y="80"/>
                  <a:pt x="130" y="80"/>
                </a:cubicBezTo>
                <a:cubicBezTo>
                  <a:pt x="123" y="91"/>
                  <a:pt x="123" y="91"/>
                  <a:pt x="123" y="91"/>
                </a:cubicBezTo>
                <a:cubicBezTo>
                  <a:pt x="120" y="96"/>
                  <a:pt x="121" y="102"/>
                  <a:pt x="126" y="105"/>
                </a:cubicBezTo>
                <a:cubicBezTo>
                  <a:pt x="131" y="108"/>
                  <a:pt x="138" y="107"/>
                  <a:pt x="141" y="102"/>
                </a:cubicBezTo>
                <a:cubicBezTo>
                  <a:pt x="149" y="88"/>
                  <a:pt x="149" y="88"/>
                  <a:pt x="149" y="88"/>
                </a:cubicBezTo>
                <a:cubicBezTo>
                  <a:pt x="150" y="87"/>
                  <a:pt x="151" y="85"/>
                  <a:pt x="151" y="83"/>
                </a:cubicBezTo>
                <a:cubicBezTo>
                  <a:pt x="151" y="23"/>
                  <a:pt x="151" y="23"/>
                  <a:pt x="151" y="23"/>
                </a:cubicBezTo>
                <a:cubicBezTo>
                  <a:pt x="151" y="22"/>
                  <a:pt x="151" y="22"/>
                  <a:pt x="151" y="22"/>
                </a:cubicBezTo>
                <a:cubicBezTo>
                  <a:pt x="172" y="22"/>
                  <a:pt x="172" y="22"/>
                  <a:pt x="172" y="22"/>
                </a:cubicBezTo>
                <a:cubicBezTo>
                  <a:pt x="172" y="23"/>
                  <a:pt x="172" y="23"/>
                  <a:pt x="172" y="23"/>
                </a:cubicBezTo>
                <a:cubicBezTo>
                  <a:pt x="172" y="83"/>
                  <a:pt x="172" y="83"/>
                  <a:pt x="172" y="83"/>
                </a:cubicBezTo>
                <a:cubicBezTo>
                  <a:pt x="172" y="85"/>
                  <a:pt x="173" y="87"/>
                  <a:pt x="174" y="88"/>
                </a:cubicBezTo>
                <a:cubicBezTo>
                  <a:pt x="182" y="102"/>
                  <a:pt x="182" y="102"/>
                  <a:pt x="182" y="102"/>
                </a:cubicBezTo>
                <a:cubicBezTo>
                  <a:pt x="183" y="103"/>
                  <a:pt x="184" y="104"/>
                  <a:pt x="185" y="105"/>
                </a:cubicBezTo>
                <a:cubicBezTo>
                  <a:pt x="185" y="105"/>
                  <a:pt x="185" y="105"/>
                  <a:pt x="185" y="105"/>
                </a:cubicBezTo>
                <a:cubicBezTo>
                  <a:pt x="186" y="106"/>
                  <a:pt x="187" y="106"/>
                  <a:pt x="189" y="107"/>
                </a:cubicBezTo>
                <a:cubicBezTo>
                  <a:pt x="189" y="107"/>
                  <a:pt x="189" y="107"/>
                  <a:pt x="189" y="107"/>
                </a:cubicBezTo>
                <a:cubicBezTo>
                  <a:pt x="190" y="107"/>
                  <a:pt x="190" y="107"/>
                  <a:pt x="191" y="107"/>
                </a:cubicBezTo>
                <a:cubicBezTo>
                  <a:pt x="192" y="107"/>
                  <a:pt x="192" y="107"/>
                  <a:pt x="192" y="107"/>
                </a:cubicBezTo>
                <a:cubicBezTo>
                  <a:pt x="193" y="107"/>
                  <a:pt x="193" y="107"/>
                  <a:pt x="193" y="107"/>
                </a:cubicBezTo>
                <a:cubicBezTo>
                  <a:pt x="194" y="107"/>
                  <a:pt x="196" y="106"/>
                  <a:pt x="197" y="105"/>
                </a:cubicBezTo>
                <a:cubicBezTo>
                  <a:pt x="202" y="102"/>
                  <a:pt x="203" y="96"/>
                  <a:pt x="200" y="91"/>
                </a:cubicBezTo>
                <a:cubicBezTo>
                  <a:pt x="194" y="80"/>
                  <a:pt x="194" y="80"/>
                  <a:pt x="194" y="80"/>
                </a:cubicBezTo>
                <a:cubicBezTo>
                  <a:pt x="194" y="36"/>
                  <a:pt x="194" y="36"/>
                  <a:pt x="194" y="36"/>
                </a:cubicBezTo>
                <a:cubicBezTo>
                  <a:pt x="204" y="39"/>
                  <a:pt x="210" y="43"/>
                  <a:pt x="220" y="48"/>
                </a:cubicBezTo>
                <a:cubicBezTo>
                  <a:pt x="222" y="49"/>
                  <a:pt x="226" y="50"/>
                  <a:pt x="226" y="51"/>
                </a:cubicBezTo>
                <a:cubicBezTo>
                  <a:pt x="226" y="144"/>
                  <a:pt x="226" y="144"/>
                  <a:pt x="226" y="144"/>
                </a:cubicBezTo>
                <a:cubicBezTo>
                  <a:pt x="226" y="150"/>
                  <a:pt x="230" y="155"/>
                  <a:pt x="236" y="155"/>
                </a:cubicBezTo>
                <a:cubicBezTo>
                  <a:pt x="242" y="155"/>
                  <a:pt x="247" y="150"/>
                  <a:pt x="247" y="144"/>
                </a:cubicBezTo>
                <a:cubicBezTo>
                  <a:pt x="247" y="86"/>
                  <a:pt x="247" y="86"/>
                  <a:pt x="247" y="86"/>
                </a:cubicBezTo>
                <a:cubicBezTo>
                  <a:pt x="258" y="103"/>
                  <a:pt x="268" y="126"/>
                  <a:pt x="268" y="154"/>
                </a:cubicBezTo>
                <a:cubicBezTo>
                  <a:pt x="268" y="187"/>
                  <a:pt x="268" y="187"/>
                  <a:pt x="268" y="187"/>
                </a:cubicBezTo>
                <a:cubicBezTo>
                  <a:pt x="258" y="192"/>
                  <a:pt x="235" y="205"/>
                  <a:pt x="162" y="205"/>
                </a:cubicBezTo>
                <a:cubicBezTo>
                  <a:pt x="88" y="205"/>
                  <a:pt x="66" y="192"/>
                  <a:pt x="55" y="188"/>
                </a:cubicBezTo>
                <a:lnTo>
                  <a:pt x="55" y="154"/>
                </a:lnTo>
                <a:close/>
                <a:moveTo>
                  <a:pt x="300" y="213"/>
                </a:moveTo>
                <a:cubicBezTo>
                  <a:pt x="298" y="222"/>
                  <a:pt x="289" y="240"/>
                  <a:pt x="283" y="249"/>
                </a:cubicBezTo>
                <a:cubicBezTo>
                  <a:pt x="277" y="251"/>
                  <a:pt x="251" y="256"/>
                  <a:pt x="163" y="256"/>
                </a:cubicBezTo>
                <a:cubicBezTo>
                  <a:pt x="162" y="256"/>
                  <a:pt x="162" y="256"/>
                  <a:pt x="162" y="256"/>
                </a:cubicBezTo>
                <a:cubicBezTo>
                  <a:pt x="162" y="256"/>
                  <a:pt x="162" y="256"/>
                  <a:pt x="162" y="256"/>
                </a:cubicBezTo>
                <a:cubicBezTo>
                  <a:pt x="73" y="256"/>
                  <a:pt x="47" y="251"/>
                  <a:pt x="41" y="249"/>
                </a:cubicBezTo>
                <a:cubicBezTo>
                  <a:pt x="36" y="240"/>
                  <a:pt x="26" y="222"/>
                  <a:pt x="24" y="213"/>
                </a:cubicBezTo>
                <a:cubicBezTo>
                  <a:pt x="22" y="208"/>
                  <a:pt x="23" y="200"/>
                  <a:pt x="24" y="194"/>
                </a:cubicBezTo>
                <a:cubicBezTo>
                  <a:pt x="34" y="191"/>
                  <a:pt x="34" y="191"/>
                  <a:pt x="34" y="191"/>
                </a:cubicBezTo>
                <a:cubicBezTo>
                  <a:pt x="34" y="192"/>
                  <a:pt x="34" y="192"/>
                  <a:pt x="34" y="192"/>
                </a:cubicBezTo>
                <a:cubicBezTo>
                  <a:pt x="34" y="195"/>
                  <a:pt x="34" y="197"/>
                  <a:pt x="36" y="199"/>
                </a:cubicBezTo>
                <a:cubicBezTo>
                  <a:pt x="39" y="203"/>
                  <a:pt x="61" y="226"/>
                  <a:pt x="162" y="226"/>
                </a:cubicBezTo>
                <a:cubicBezTo>
                  <a:pt x="249" y="226"/>
                  <a:pt x="277" y="208"/>
                  <a:pt x="285" y="201"/>
                </a:cubicBezTo>
                <a:cubicBezTo>
                  <a:pt x="288" y="199"/>
                  <a:pt x="290" y="196"/>
                  <a:pt x="290" y="192"/>
                </a:cubicBezTo>
                <a:cubicBezTo>
                  <a:pt x="290" y="191"/>
                  <a:pt x="290" y="191"/>
                  <a:pt x="290" y="191"/>
                </a:cubicBezTo>
                <a:cubicBezTo>
                  <a:pt x="301" y="194"/>
                  <a:pt x="301" y="194"/>
                  <a:pt x="301" y="194"/>
                </a:cubicBezTo>
                <a:cubicBezTo>
                  <a:pt x="301" y="200"/>
                  <a:pt x="302" y="208"/>
                  <a:pt x="300" y="213"/>
                </a:cubicBezTo>
                <a:close/>
              </a:path>
            </a:pathLst>
          </a:custGeom>
          <a:solidFill>
            <a:srgbClr val="43B02A"/>
          </a:solid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75" name="Freeform 756">
            <a:extLst>
              <a:ext uri="{FF2B5EF4-FFF2-40B4-BE49-F238E27FC236}">
                <a16:creationId xmlns:a16="http://schemas.microsoft.com/office/drawing/2014/main" id="{195C07B0-0DBE-42D4-8BEF-69DA8B84BC8D}"/>
              </a:ext>
            </a:extLst>
          </p:cNvPr>
          <p:cNvSpPr>
            <a:spLocks noEditPoints="1"/>
          </p:cNvSpPr>
          <p:nvPr/>
        </p:nvSpPr>
        <p:spPr bwMode="auto">
          <a:xfrm>
            <a:off x="3825856" y="4950408"/>
            <a:ext cx="215378" cy="215378"/>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solidFill>
            <a:srgbClr val="53565A"/>
          </a:solid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76" name="Group 275">
            <a:extLst>
              <a:ext uri="{FF2B5EF4-FFF2-40B4-BE49-F238E27FC236}">
                <a16:creationId xmlns:a16="http://schemas.microsoft.com/office/drawing/2014/main" id="{53BE57B6-541E-4C23-89EB-F0BD2235C0E6}"/>
              </a:ext>
            </a:extLst>
          </p:cNvPr>
          <p:cNvGrpSpPr/>
          <p:nvPr/>
        </p:nvGrpSpPr>
        <p:grpSpPr>
          <a:xfrm>
            <a:off x="5237240" y="4944105"/>
            <a:ext cx="263055" cy="193537"/>
            <a:chOff x="3702180" y="4079933"/>
            <a:chExt cx="263055" cy="193537"/>
          </a:xfrm>
          <a:solidFill>
            <a:srgbClr val="012169"/>
          </a:solidFill>
        </p:grpSpPr>
        <p:sp>
          <p:nvSpPr>
            <p:cNvPr id="277" name="Freeform 30">
              <a:extLst>
                <a:ext uri="{FF2B5EF4-FFF2-40B4-BE49-F238E27FC236}">
                  <a16:creationId xmlns:a16="http://schemas.microsoft.com/office/drawing/2014/main" id="{720E47CA-FEED-4161-9F6C-AFA8D65E1EFA}"/>
                </a:ext>
              </a:extLst>
            </p:cNvPr>
            <p:cNvSpPr>
              <a:spLocks noEditPoints="1"/>
            </p:cNvSpPr>
            <p:nvPr/>
          </p:nvSpPr>
          <p:spPr bwMode="auto">
            <a:xfrm>
              <a:off x="3702180" y="4079933"/>
              <a:ext cx="263055" cy="193537"/>
            </a:xfrm>
            <a:custGeom>
              <a:avLst/>
              <a:gdLst>
                <a:gd name="T0" fmla="*/ 108 w 117"/>
                <a:gd name="T1" fmla="*/ 53 h 86"/>
                <a:gd name="T2" fmla="*/ 108 w 117"/>
                <a:gd name="T3" fmla="*/ 42 h 86"/>
                <a:gd name="T4" fmla="*/ 97 w 117"/>
                <a:gd name="T5" fmla="*/ 34 h 86"/>
                <a:gd name="T6" fmla="*/ 68 w 117"/>
                <a:gd name="T7" fmla="*/ 17 h 86"/>
                <a:gd name="T8" fmla="*/ 60 w 117"/>
                <a:gd name="T9" fmla="*/ 0 h 86"/>
                <a:gd name="T10" fmla="*/ 49 w 117"/>
                <a:gd name="T11" fmla="*/ 8 h 86"/>
                <a:gd name="T12" fmla="*/ 27 w 117"/>
                <a:gd name="T13" fmla="*/ 37 h 86"/>
                <a:gd name="T14" fmla="*/ 17 w 117"/>
                <a:gd name="T15" fmla="*/ 34 h 86"/>
                <a:gd name="T16" fmla="*/ 9 w 117"/>
                <a:gd name="T17" fmla="*/ 51 h 86"/>
                <a:gd name="T18" fmla="*/ 2 w 117"/>
                <a:gd name="T19" fmla="*/ 60 h 86"/>
                <a:gd name="T20" fmla="*/ 4 w 117"/>
                <a:gd name="T21" fmla="*/ 70 h 86"/>
                <a:gd name="T22" fmla="*/ 9 w 117"/>
                <a:gd name="T23" fmla="*/ 71 h 86"/>
                <a:gd name="T24" fmla="*/ 9 w 117"/>
                <a:gd name="T25" fmla="*/ 79 h 86"/>
                <a:gd name="T26" fmla="*/ 10 w 117"/>
                <a:gd name="T27" fmla="*/ 85 h 86"/>
                <a:gd name="T28" fmla="*/ 16 w 117"/>
                <a:gd name="T29" fmla="*/ 86 h 86"/>
                <a:gd name="T30" fmla="*/ 38 w 117"/>
                <a:gd name="T31" fmla="*/ 86 h 86"/>
                <a:gd name="T32" fmla="*/ 41 w 117"/>
                <a:gd name="T33" fmla="*/ 83 h 86"/>
                <a:gd name="T34" fmla="*/ 55 w 117"/>
                <a:gd name="T35" fmla="*/ 53 h 86"/>
                <a:gd name="T36" fmla="*/ 56 w 117"/>
                <a:gd name="T37" fmla="*/ 85 h 86"/>
                <a:gd name="T38" fmla="*/ 64 w 117"/>
                <a:gd name="T39" fmla="*/ 86 h 86"/>
                <a:gd name="T40" fmla="*/ 65 w 117"/>
                <a:gd name="T41" fmla="*/ 86 h 86"/>
                <a:gd name="T42" fmla="*/ 104 w 117"/>
                <a:gd name="T43" fmla="*/ 86 h 86"/>
                <a:gd name="T44" fmla="*/ 107 w 117"/>
                <a:gd name="T45" fmla="*/ 85 h 86"/>
                <a:gd name="T46" fmla="*/ 108 w 117"/>
                <a:gd name="T47" fmla="*/ 79 h 86"/>
                <a:gd name="T48" fmla="*/ 110 w 117"/>
                <a:gd name="T49" fmla="*/ 72 h 86"/>
                <a:gd name="T50" fmla="*/ 116 w 117"/>
                <a:gd name="T51" fmla="*/ 64 h 86"/>
                <a:gd name="T52" fmla="*/ 65 w 117"/>
                <a:gd name="T53" fmla="*/ 79 h 86"/>
                <a:gd name="T54" fmla="*/ 64 w 117"/>
                <a:gd name="T55" fmla="*/ 79 h 86"/>
                <a:gd name="T56" fmla="*/ 62 w 117"/>
                <a:gd name="T57" fmla="*/ 49 h 86"/>
                <a:gd name="T58" fmla="*/ 59 w 117"/>
                <a:gd name="T59" fmla="*/ 46 h 86"/>
                <a:gd name="T60" fmla="*/ 35 w 117"/>
                <a:gd name="T61" fmla="*/ 47 h 86"/>
                <a:gd name="T62" fmla="*/ 34 w 117"/>
                <a:gd name="T63" fmla="*/ 79 h 86"/>
                <a:gd name="T64" fmla="*/ 16 w 117"/>
                <a:gd name="T65" fmla="*/ 79 h 86"/>
                <a:gd name="T66" fmla="*/ 16 w 117"/>
                <a:gd name="T67" fmla="*/ 75 h 86"/>
                <a:gd name="T68" fmla="*/ 14 w 117"/>
                <a:gd name="T69" fmla="*/ 60 h 86"/>
                <a:gd name="T70" fmla="*/ 15 w 117"/>
                <a:gd name="T71" fmla="*/ 57 h 86"/>
                <a:gd name="T72" fmla="*/ 16 w 117"/>
                <a:gd name="T73" fmla="*/ 51 h 86"/>
                <a:gd name="T74" fmla="*/ 17 w 117"/>
                <a:gd name="T75" fmla="*/ 41 h 86"/>
                <a:gd name="T76" fmla="*/ 20 w 117"/>
                <a:gd name="T77" fmla="*/ 40 h 86"/>
                <a:gd name="T78" fmla="*/ 22 w 117"/>
                <a:gd name="T79" fmla="*/ 42 h 86"/>
                <a:gd name="T80" fmla="*/ 24 w 117"/>
                <a:gd name="T81" fmla="*/ 46 h 86"/>
                <a:gd name="T82" fmla="*/ 55 w 117"/>
                <a:gd name="T83" fmla="*/ 21 h 86"/>
                <a:gd name="T84" fmla="*/ 56 w 117"/>
                <a:gd name="T85" fmla="*/ 17 h 86"/>
                <a:gd name="T86" fmla="*/ 56 w 117"/>
                <a:gd name="T87" fmla="*/ 7 h 86"/>
                <a:gd name="T88" fmla="*/ 60 w 117"/>
                <a:gd name="T89" fmla="*/ 7 h 86"/>
                <a:gd name="T90" fmla="*/ 61 w 117"/>
                <a:gd name="T91" fmla="*/ 8 h 86"/>
                <a:gd name="T92" fmla="*/ 61 w 117"/>
                <a:gd name="T93" fmla="*/ 18 h 86"/>
                <a:gd name="T94" fmla="*/ 90 w 117"/>
                <a:gd name="T95" fmla="*/ 46 h 86"/>
                <a:gd name="T96" fmla="*/ 96 w 117"/>
                <a:gd name="T97" fmla="*/ 43 h 86"/>
                <a:gd name="T98" fmla="*/ 96 w 117"/>
                <a:gd name="T99" fmla="*/ 41 h 86"/>
                <a:gd name="T100" fmla="*/ 100 w 117"/>
                <a:gd name="T101" fmla="*/ 40 h 86"/>
                <a:gd name="T102" fmla="*/ 101 w 117"/>
                <a:gd name="T103" fmla="*/ 42 h 86"/>
                <a:gd name="T104" fmla="*/ 101 w 117"/>
                <a:gd name="T105" fmla="*/ 54 h 86"/>
                <a:gd name="T106" fmla="*/ 106 w 117"/>
                <a:gd name="T107" fmla="*/ 60 h 86"/>
                <a:gd name="T108" fmla="*/ 101 w 117"/>
                <a:gd name="T109" fmla="*/ 63 h 86"/>
                <a:gd name="T110" fmla="*/ 101 w 117"/>
                <a:gd name="T111" fmla="*/ 79 h 86"/>
                <a:gd name="T112" fmla="*/ 65 w 117"/>
                <a:gd name="T113" fmla="*/ 79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7" h="86">
                  <a:moveTo>
                    <a:pt x="115" y="60"/>
                  </a:moveTo>
                  <a:cubicBezTo>
                    <a:pt x="108" y="53"/>
                    <a:pt x="108" y="53"/>
                    <a:pt x="108" y="53"/>
                  </a:cubicBezTo>
                  <a:cubicBezTo>
                    <a:pt x="108" y="52"/>
                    <a:pt x="108" y="51"/>
                    <a:pt x="108" y="51"/>
                  </a:cubicBezTo>
                  <a:cubicBezTo>
                    <a:pt x="108" y="42"/>
                    <a:pt x="108" y="42"/>
                    <a:pt x="108" y="42"/>
                  </a:cubicBezTo>
                  <a:cubicBezTo>
                    <a:pt x="108" y="37"/>
                    <a:pt x="104" y="34"/>
                    <a:pt x="100" y="34"/>
                  </a:cubicBezTo>
                  <a:cubicBezTo>
                    <a:pt x="97" y="34"/>
                    <a:pt x="97" y="34"/>
                    <a:pt x="97" y="34"/>
                  </a:cubicBezTo>
                  <a:cubicBezTo>
                    <a:pt x="94" y="34"/>
                    <a:pt x="92" y="35"/>
                    <a:pt x="90" y="37"/>
                  </a:cubicBezTo>
                  <a:cubicBezTo>
                    <a:pt x="68" y="17"/>
                    <a:pt x="68" y="17"/>
                    <a:pt x="68" y="17"/>
                  </a:cubicBezTo>
                  <a:cubicBezTo>
                    <a:pt x="68" y="8"/>
                    <a:pt x="68" y="8"/>
                    <a:pt x="68" y="8"/>
                  </a:cubicBezTo>
                  <a:cubicBezTo>
                    <a:pt x="68" y="4"/>
                    <a:pt x="65" y="0"/>
                    <a:pt x="60" y="0"/>
                  </a:cubicBezTo>
                  <a:cubicBezTo>
                    <a:pt x="57" y="0"/>
                    <a:pt x="57" y="0"/>
                    <a:pt x="57" y="0"/>
                  </a:cubicBezTo>
                  <a:cubicBezTo>
                    <a:pt x="53" y="0"/>
                    <a:pt x="49" y="4"/>
                    <a:pt x="49" y="8"/>
                  </a:cubicBezTo>
                  <a:cubicBezTo>
                    <a:pt x="49" y="17"/>
                    <a:pt x="49" y="17"/>
                    <a:pt x="49" y="17"/>
                  </a:cubicBezTo>
                  <a:cubicBezTo>
                    <a:pt x="27" y="37"/>
                    <a:pt x="27" y="37"/>
                    <a:pt x="27" y="37"/>
                  </a:cubicBezTo>
                  <a:cubicBezTo>
                    <a:pt x="25" y="35"/>
                    <a:pt x="23" y="34"/>
                    <a:pt x="20" y="34"/>
                  </a:cubicBezTo>
                  <a:cubicBezTo>
                    <a:pt x="17" y="34"/>
                    <a:pt x="17" y="34"/>
                    <a:pt x="17" y="34"/>
                  </a:cubicBezTo>
                  <a:cubicBezTo>
                    <a:pt x="13" y="34"/>
                    <a:pt x="9" y="37"/>
                    <a:pt x="9" y="42"/>
                  </a:cubicBezTo>
                  <a:cubicBezTo>
                    <a:pt x="9" y="51"/>
                    <a:pt x="9" y="51"/>
                    <a:pt x="9" y="51"/>
                  </a:cubicBezTo>
                  <a:cubicBezTo>
                    <a:pt x="9" y="51"/>
                    <a:pt x="9" y="52"/>
                    <a:pt x="9" y="53"/>
                  </a:cubicBezTo>
                  <a:cubicBezTo>
                    <a:pt x="2" y="60"/>
                    <a:pt x="2" y="60"/>
                    <a:pt x="2" y="60"/>
                  </a:cubicBezTo>
                  <a:cubicBezTo>
                    <a:pt x="0" y="61"/>
                    <a:pt x="0" y="62"/>
                    <a:pt x="1" y="64"/>
                  </a:cubicBezTo>
                  <a:cubicBezTo>
                    <a:pt x="4" y="70"/>
                    <a:pt x="4" y="70"/>
                    <a:pt x="4" y="70"/>
                  </a:cubicBezTo>
                  <a:cubicBezTo>
                    <a:pt x="5" y="71"/>
                    <a:pt x="6" y="71"/>
                    <a:pt x="7" y="72"/>
                  </a:cubicBezTo>
                  <a:cubicBezTo>
                    <a:pt x="8" y="72"/>
                    <a:pt x="9" y="71"/>
                    <a:pt x="9" y="71"/>
                  </a:cubicBezTo>
                  <a:cubicBezTo>
                    <a:pt x="9" y="75"/>
                    <a:pt x="9" y="75"/>
                    <a:pt x="9" y="75"/>
                  </a:cubicBezTo>
                  <a:cubicBezTo>
                    <a:pt x="9" y="79"/>
                    <a:pt x="9" y="79"/>
                    <a:pt x="9" y="79"/>
                  </a:cubicBezTo>
                  <a:cubicBezTo>
                    <a:pt x="9" y="83"/>
                    <a:pt x="9" y="83"/>
                    <a:pt x="9" y="83"/>
                  </a:cubicBezTo>
                  <a:cubicBezTo>
                    <a:pt x="9" y="84"/>
                    <a:pt x="10" y="85"/>
                    <a:pt x="10" y="85"/>
                  </a:cubicBezTo>
                  <a:cubicBezTo>
                    <a:pt x="11" y="86"/>
                    <a:pt x="12" y="86"/>
                    <a:pt x="13" y="86"/>
                  </a:cubicBezTo>
                  <a:cubicBezTo>
                    <a:pt x="16" y="86"/>
                    <a:pt x="16" y="86"/>
                    <a:pt x="16" y="86"/>
                  </a:cubicBezTo>
                  <a:cubicBezTo>
                    <a:pt x="18" y="86"/>
                    <a:pt x="18" y="86"/>
                    <a:pt x="18" y="86"/>
                  </a:cubicBezTo>
                  <a:cubicBezTo>
                    <a:pt x="38" y="86"/>
                    <a:pt x="38" y="86"/>
                    <a:pt x="38" y="86"/>
                  </a:cubicBezTo>
                  <a:cubicBezTo>
                    <a:pt x="38" y="86"/>
                    <a:pt x="39" y="86"/>
                    <a:pt x="40" y="85"/>
                  </a:cubicBezTo>
                  <a:cubicBezTo>
                    <a:pt x="41" y="85"/>
                    <a:pt x="41" y="84"/>
                    <a:pt x="41" y="83"/>
                  </a:cubicBezTo>
                  <a:cubicBezTo>
                    <a:pt x="41" y="53"/>
                    <a:pt x="41" y="53"/>
                    <a:pt x="41" y="53"/>
                  </a:cubicBezTo>
                  <a:cubicBezTo>
                    <a:pt x="55" y="53"/>
                    <a:pt x="55" y="53"/>
                    <a:pt x="55" y="53"/>
                  </a:cubicBezTo>
                  <a:cubicBezTo>
                    <a:pt x="55" y="83"/>
                    <a:pt x="55" y="83"/>
                    <a:pt x="55" y="83"/>
                  </a:cubicBezTo>
                  <a:cubicBezTo>
                    <a:pt x="55" y="84"/>
                    <a:pt x="56" y="85"/>
                    <a:pt x="56" y="85"/>
                  </a:cubicBezTo>
                  <a:cubicBezTo>
                    <a:pt x="57" y="86"/>
                    <a:pt x="58" y="86"/>
                    <a:pt x="59" y="86"/>
                  </a:cubicBezTo>
                  <a:cubicBezTo>
                    <a:pt x="64" y="86"/>
                    <a:pt x="64" y="86"/>
                    <a:pt x="64" y="86"/>
                  </a:cubicBezTo>
                  <a:cubicBezTo>
                    <a:pt x="64" y="86"/>
                    <a:pt x="64" y="86"/>
                    <a:pt x="64" y="86"/>
                  </a:cubicBezTo>
                  <a:cubicBezTo>
                    <a:pt x="65" y="86"/>
                    <a:pt x="65" y="86"/>
                    <a:pt x="65" y="86"/>
                  </a:cubicBezTo>
                  <a:cubicBezTo>
                    <a:pt x="99" y="86"/>
                    <a:pt x="99" y="86"/>
                    <a:pt x="99" y="86"/>
                  </a:cubicBezTo>
                  <a:cubicBezTo>
                    <a:pt x="104" y="86"/>
                    <a:pt x="104" y="86"/>
                    <a:pt x="104" y="86"/>
                  </a:cubicBezTo>
                  <a:cubicBezTo>
                    <a:pt x="104" y="86"/>
                    <a:pt x="104" y="86"/>
                    <a:pt x="104" y="86"/>
                  </a:cubicBezTo>
                  <a:cubicBezTo>
                    <a:pt x="105" y="86"/>
                    <a:pt x="106" y="86"/>
                    <a:pt x="107" y="85"/>
                  </a:cubicBezTo>
                  <a:cubicBezTo>
                    <a:pt x="107" y="85"/>
                    <a:pt x="108" y="84"/>
                    <a:pt x="108" y="83"/>
                  </a:cubicBezTo>
                  <a:cubicBezTo>
                    <a:pt x="108" y="79"/>
                    <a:pt x="108" y="79"/>
                    <a:pt x="108" y="79"/>
                  </a:cubicBezTo>
                  <a:cubicBezTo>
                    <a:pt x="108" y="71"/>
                    <a:pt x="108" y="71"/>
                    <a:pt x="108" y="71"/>
                  </a:cubicBezTo>
                  <a:cubicBezTo>
                    <a:pt x="109" y="71"/>
                    <a:pt x="109" y="72"/>
                    <a:pt x="110" y="72"/>
                  </a:cubicBezTo>
                  <a:cubicBezTo>
                    <a:pt x="111" y="71"/>
                    <a:pt x="112" y="71"/>
                    <a:pt x="113" y="70"/>
                  </a:cubicBezTo>
                  <a:cubicBezTo>
                    <a:pt x="116" y="64"/>
                    <a:pt x="116" y="64"/>
                    <a:pt x="116" y="64"/>
                  </a:cubicBezTo>
                  <a:cubicBezTo>
                    <a:pt x="117" y="62"/>
                    <a:pt x="117" y="61"/>
                    <a:pt x="115" y="60"/>
                  </a:cubicBezTo>
                  <a:close/>
                  <a:moveTo>
                    <a:pt x="65" y="79"/>
                  </a:moveTo>
                  <a:cubicBezTo>
                    <a:pt x="64" y="79"/>
                    <a:pt x="64" y="79"/>
                    <a:pt x="64" y="79"/>
                  </a:cubicBezTo>
                  <a:cubicBezTo>
                    <a:pt x="64" y="79"/>
                    <a:pt x="64" y="79"/>
                    <a:pt x="64" y="79"/>
                  </a:cubicBezTo>
                  <a:cubicBezTo>
                    <a:pt x="62" y="79"/>
                    <a:pt x="62" y="79"/>
                    <a:pt x="62" y="79"/>
                  </a:cubicBezTo>
                  <a:cubicBezTo>
                    <a:pt x="62" y="49"/>
                    <a:pt x="62" y="49"/>
                    <a:pt x="62" y="49"/>
                  </a:cubicBezTo>
                  <a:cubicBezTo>
                    <a:pt x="62" y="48"/>
                    <a:pt x="62" y="47"/>
                    <a:pt x="61" y="47"/>
                  </a:cubicBezTo>
                  <a:cubicBezTo>
                    <a:pt x="61" y="46"/>
                    <a:pt x="60" y="46"/>
                    <a:pt x="59" y="46"/>
                  </a:cubicBezTo>
                  <a:cubicBezTo>
                    <a:pt x="38" y="46"/>
                    <a:pt x="38" y="46"/>
                    <a:pt x="38" y="46"/>
                  </a:cubicBezTo>
                  <a:cubicBezTo>
                    <a:pt x="37" y="46"/>
                    <a:pt x="36" y="46"/>
                    <a:pt x="35" y="47"/>
                  </a:cubicBezTo>
                  <a:cubicBezTo>
                    <a:pt x="34" y="47"/>
                    <a:pt x="34" y="48"/>
                    <a:pt x="34" y="49"/>
                  </a:cubicBezTo>
                  <a:cubicBezTo>
                    <a:pt x="34" y="79"/>
                    <a:pt x="34" y="79"/>
                    <a:pt x="34" y="79"/>
                  </a:cubicBezTo>
                  <a:cubicBezTo>
                    <a:pt x="18" y="79"/>
                    <a:pt x="18" y="79"/>
                    <a:pt x="18" y="79"/>
                  </a:cubicBezTo>
                  <a:cubicBezTo>
                    <a:pt x="16" y="79"/>
                    <a:pt x="16" y="79"/>
                    <a:pt x="16" y="79"/>
                  </a:cubicBezTo>
                  <a:cubicBezTo>
                    <a:pt x="16" y="79"/>
                    <a:pt x="16" y="79"/>
                    <a:pt x="16" y="79"/>
                  </a:cubicBezTo>
                  <a:cubicBezTo>
                    <a:pt x="16" y="75"/>
                    <a:pt x="16" y="75"/>
                    <a:pt x="16" y="75"/>
                  </a:cubicBezTo>
                  <a:cubicBezTo>
                    <a:pt x="16" y="63"/>
                    <a:pt x="16" y="63"/>
                    <a:pt x="16" y="63"/>
                  </a:cubicBezTo>
                  <a:cubicBezTo>
                    <a:pt x="16" y="62"/>
                    <a:pt x="15" y="61"/>
                    <a:pt x="14" y="60"/>
                  </a:cubicBezTo>
                  <a:cubicBezTo>
                    <a:pt x="13" y="60"/>
                    <a:pt x="12" y="60"/>
                    <a:pt x="11" y="60"/>
                  </a:cubicBezTo>
                  <a:cubicBezTo>
                    <a:pt x="15" y="57"/>
                    <a:pt x="15" y="57"/>
                    <a:pt x="15" y="57"/>
                  </a:cubicBezTo>
                  <a:cubicBezTo>
                    <a:pt x="16" y="56"/>
                    <a:pt x="16" y="55"/>
                    <a:pt x="16" y="54"/>
                  </a:cubicBezTo>
                  <a:cubicBezTo>
                    <a:pt x="16" y="54"/>
                    <a:pt x="16" y="52"/>
                    <a:pt x="16" y="51"/>
                  </a:cubicBezTo>
                  <a:cubicBezTo>
                    <a:pt x="16" y="42"/>
                    <a:pt x="16" y="42"/>
                    <a:pt x="16" y="42"/>
                  </a:cubicBezTo>
                  <a:cubicBezTo>
                    <a:pt x="16" y="41"/>
                    <a:pt x="16" y="41"/>
                    <a:pt x="17" y="41"/>
                  </a:cubicBezTo>
                  <a:cubicBezTo>
                    <a:pt x="17" y="41"/>
                    <a:pt x="17" y="40"/>
                    <a:pt x="17" y="40"/>
                  </a:cubicBezTo>
                  <a:cubicBezTo>
                    <a:pt x="20" y="40"/>
                    <a:pt x="20" y="40"/>
                    <a:pt x="20" y="40"/>
                  </a:cubicBezTo>
                  <a:cubicBezTo>
                    <a:pt x="21" y="40"/>
                    <a:pt x="21" y="41"/>
                    <a:pt x="21" y="41"/>
                  </a:cubicBezTo>
                  <a:cubicBezTo>
                    <a:pt x="21" y="41"/>
                    <a:pt x="22" y="41"/>
                    <a:pt x="22" y="42"/>
                  </a:cubicBezTo>
                  <a:cubicBezTo>
                    <a:pt x="22" y="43"/>
                    <a:pt x="22" y="43"/>
                    <a:pt x="22" y="43"/>
                  </a:cubicBezTo>
                  <a:cubicBezTo>
                    <a:pt x="22" y="44"/>
                    <a:pt x="22" y="46"/>
                    <a:pt x="24" y="46"/>
                  </a:cubicBezTo>
                  <a:cubicBezTo>
                    <a:pt x="25" y="47"/>
                    <a:pt x="26" y="47"/>
                    <a:pt x="27" y="46"/>
                  </a:cubicBezTo>
                  <a:cubicBezTo>
                    <a:pt x="55" y="21"/>
                    <a:pt x="55" y="21"/>
                    <a:pt x="55" y="21"/>
                  </a:cubicBezTo>
                  <a:cubicBezTo>
                    <a:pt x="56" y="20"/>
                    <a:pt x="56" y="19"/>
                    <a:pt x="56" y="18"/>
                  </a:cubicBezTo>
                  <a:cubicBezTo>
                    <a:pt x="56" y="17"/>
                    <a:pt x="56" y="17"/>
                    <a:pt x="56" y="17"/>
                  </a:cubicBezTo>
                  <a:cubicBezTo>
                    <a:pt x="56" y="8"/>
                    <a:pt x="56" y="8"/>
                    <a:pt x="56" y="8"/>
                  </a:cubicBezTo>
                  <a:cubicBezTo>
                    <a:pt x="56" y="8"/>
                    <a:pt x="56" y="7"/>
                    <a:pt x="56" y="7"/>
                  </a:cubicBezTo>
                  <a:cubicBezTo>
                    <a:pt x="56" y="7"/>
                    <a:pt x="57" y="7"/>
                    <a:pt x="57" y="7"/>
                  </a:cubicBezTo>
                  <a:cubicBezTo>
                    <a:pt x="60" y="7"/>
                    <a:pt x="60" y="7"/>
                    <a:pt x="60" y="7"/>
                  </a:cubicBezTo>
                  <a:cubicBezTo>
                    <a:pt x="60" y="7"/>
                    <a:pt x="61" y="7"/>
                    <a:pt x="61" y="7"/>
                  </a:cubicBezTo>
                  <a:cubicBezTo>
                    <a:pt x="61" y="7"/>
                    <a:pt x="61" y="8"/>
                    <a:pt x="61" y="8"/>
                  </a:cubicBezTo>
                  <a:cubicBezTo>
                    <a:pt x="61" y="17"/>
                    <a:pt x="61" y="17"/>
                    <a:pt x="61" y="17"/>
                  </a:cubicBezTo>
                  <a:cubicBezTo>
                    <a:pt x="61" y="18"/>
                    <a:pt x="61" y="18"/>
                    <a:pt x="61" y="18"/>
                  </a:cubicBezTo>
                  <a:cubicBezTo>
                    <a:pt x="61" y="19"/>
                    <a:pt x="61" y="20"/>
                    <a:pt x="62" y="21"/>
                  </a:cubicBezTo>
                  <a:cubicBezTo>
                    <a:pt x="90" y="46"/>
                    <a:pt x="90" y="46"/>
                    <a:pt x="90" y="46"/>
                  </a:cubicBezTo>
                  <a:cubicBezTo>
                    <a:pt x="91" y="47"/>
                    <a:pt x="92" y="47"/>
                    <a:pt x="94" y="46"/>
                  </a:cubicBezTo>
                  <a:cubicBezTo>
                    <a:pt x="95" y="46"/>
                    <a:pt x="96" y="44"/>
                    <a:pt x="96" y="43"/>
                  </a:cubicBezTo>
                  <a:cubicBezTo>
                    <a:pt x="96" y="42"/>
                    <a:pt x="96" y="42"/>
                    <a:pt x="96" y="42"/>
                  </a:cubicBezTo>
                  <a:cubicBezTo>
                    <a:pt x="96" y="41"/>
                    <a:pt x="96" y="41"/>
                    <a:pt x="96" y="41"/>
                  </a:cubicBezTo>
                  <a:cubicBezTo>
                    <a:pt x="96" y="41"/>
                    <a:pt x="96" y="40"/>
                    <a:pt x="97" y="40"/>
                  </a:cubicBezTo>
                  <a:cubicBezTo>
                    <a:pt x="100" y="40"/>
                    <a:pt x="100" y="40"/>
                    <a:pt x="100" y="40"/>
                  </a:cubicBezTo>
                  <a:cubicBezTo>
                    <a:pt x="100" y="40"/>
                    <a:pt x="100" y="41"/>
                    <a:pt x="101" y="41"/>
                  </a:cubicBezTo>
                  <a:cubicBezTo>
                    <a:pt x="101" y="41"/>
                    <a:pt x="101" y="41"/>
                    <a:pt x="101" y="42"/>
                  </a:cubicBezTo>
                  <a:cubicBezTo>
                    <a:pt x="101" y="51"/>
                    <a:pt x="101" y="51"/>
                    <a:pt x="101" y="51"/>
                  </a:cubicBezTo>
                  <a:cubicBezTo>
                    <a:pt x="101" y="52"/>
                    <a:pt x="101" y="54"/>
                    <a:pt x="101" y="54"/>
                  </a:cubicBezTo>
                  <a:cubicBezTo>
                    <a:pt x="101" y="55"/>
                    <a:pt x="101" y="56"/>
                    <a:pt x="102" y="57"/>
                  </a:cubicBezTo>
                  <a:cubicBezTo>
                    <a:pt x="106" y="60"/>
                    <a:pt x="106" y="60"/>
                    <a:pt x="106" y="60"/>
                  </a:cubicBezTo>
                  <a:cubicBezTo>
                    <a:pt x="105" y="60"/>
                    <a:pt x="104" y="60"/>
                    <a:pt x="103" y="60"/>
                  </a:cubicBezTo>
                  <a:cubicBezTo>
                    <a:pt x="102" y="61"/>
                    <a:pt x="101" y="62"/>
                    <a:pt x="101" y="63"/>
                  </a:cubicBezTo>
                  <a:cubicBezTo>
                    <a:pt x="101" y="79"/>
                    <a:pt x="101" y="79"/>
                    <a:pt x="101" y="79"/>
                  </a:cubicBezTo>
                  <a:cubicBezTo>
                    <a:pt x="101" y="79"/>
                    <a:pt x="101" y="79"/>
                    <a:pt x="101" y="79"/>
                  </a:cubicBezTo>
                  <a:cubicBezTo>
                    <a:pt x="99" y="79"/>
                    <a:pt x="99" y="79"/>
                    <a:pt x="99" y="79"/>
                  </a:cubicBezTo>
                  <a:lnTo>
                    <a:pt x="65" y="79"/>
                  </a:lnTo>
                  <a:close/>
                </a:path>
              </a:pathLst>
            </a:custGeom>
            <a:solidFill>
              <a:srgbClr val="ED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dirty="0"/>
            </a:p>
          </p:txBody>
        </p:sp>
        <p:sp>
          <p:nvSpPr>
            <p:cNvPr id="278" name="Freeform 31">
              <a:extLst>
                <a:ext uri="{FF2B5EF4-FFF2-40B4-BE49-F238E27FC236}">
                  <a16:creationId xmlns:a16="http://schemas.microsoft.com/office/drawing/2014/main" id="{23C697EA-8BA3-4806-998D-4F1A125337B7}"/>
                </a:ext>
              </a:extLst>
            </p:cNvPr>
            <p:cNvSpPr>
              <a:spLocks noEditPoints="1"/>
            </p:cNvSpPr>
            <p:nvPr/>
          </p:nvSpPr>
          <p:spPr bwMode="auto">
            <a:xfrm>
              <a:off x="3859568" y="4192274"/>
              <a:ext cx="45048" cy="47272"/>
            </a:xfrm>
            <a:custGeom>
              <a:avLst/>
              <a:gdLst>
                <a:gd name="T0" fmla="*/ 16 w 20"/>
                <a:gd name="T1" fmla="*/ 0 h 21"/>
                <a:gd name="T2" fmla="*/ 3 w 20"/>
                <a:gd name="T3" fmla="*/ 0 h 21"/>
                <a:gd name="T4" fmla="*/ 1 w 20"/>
                <a:gd name="T5" fmla="*/ 1 h 21"/>
                <a:gd name="T6" fmla="*/ 0 w 20"/>
                <a:gd name="T7" fmla="*/ 4 h 21"/>
                <a:gd name="T8" fmla="*/ 0 w 20"/>
                <a:gd name="T9" fmla="*/ 17 h 21"/>
                <a:gd name="T10" fmla="*/ 1 w 20"/>
                <a:gd name="T11" fmla="*/ 20 h 21"/>
                <a:gd name="T12" fmla="*/ 3 w 20"/>
                <a:gd name="T13" fmla="*/ 21 h 21"/>
                <a:gd name="T14" fmla="*/ 16 w 20"/>
                <a:gd name="T15" fmla="*/ 21 h 21"/>
                <a:gd name="T16" fmla="*/ 19 w 20"/>
                <a:gd name="T17" fmla="*/ 20 h 21"/>
                <a:gd name="T18" fmla="*/ 20 w 20"/>
                <a:gd name="T19" fmla="*/ 17 h 21"/>
                <a:gd name="T20" fmla="*/ 20 w 20"/>
                <a:gd name="T21" fmla="*/ 4 h 21"/>
                <a:gd name="T22" fmla="*/ 19 w 20"/>
                <a:gd name="T23" fmla="*/ 1 h 21"/>
                <a:gd name="T24" fmla="*/ 16 w 20"/>
                <a:gd name="T25" fmla="*/ 0 h 21"/>
                <a:gd name="T26" fmla="*/ 7 w 20"/>
                <a:gd name="T27" fmla="*/ 7 h 21"/>
                <a:gd name="T28" fmla="*/ 13 w 20"/>
                <a:gd name="T29" fmla="*/ 7 h 21"/>
                <a:gd name="T30" fmla="*/ 13 w 20"/>
                <a:gd name="T31" fmla="*/ 14 h 21"/>
                <a:gd name="T32" fmla="*/ 7 w 20"/>
                <a:gd name="T33" fmla="*/ 14 h 21"/>
                <a:gd name="T34" fmla="*/ 7 w 20"/>
                <a:gd name="T35"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 h="21">
                  <a:moveTo>
                    <a:pt x="16" y="0"/>
                  </a:moveTo>
                  <a:cubicBezTo>
                    <a:pt x="3" y="0"/>
                    <a:pt x="3" y="0"/>
                    <a:pt x="3" y="0"/>
                  </a:cubicBezTo>
                  <a:cubicBezTo>
                    <a:pt x="2" y="0"/>
                    <a:pt x="1" y="0"/>
                    <a:pt x="1" y="1"/>
                  </a:cubicBezTo>
                  <a:cubicBezTo>
                    <a:pt x="0" y="2"/>
                    <a:pt x="0" y="3"/>
                    <a:pt x="0" y="4"/>
                  </a:cubicBezTo>
                  <a:cubicBezTo>
                    <a:pt x="0" y="17"/>
                    <a:pt x="0" y="17"/>
                    <a:pt x="0" y="17"/>
                  </a:cubicBezTo>
                  <a:cubicBezTo>
                    <a:pt x="0" y="18"/>
                    <a:pt x="0" y="19"/>
                    <a:pt x="1" y="20"/>
                  </a:cubicBezTo>
                  <a:cubicBezTo>
                    <a:pt x="1" y="21"/>
                    <a:pt x="2" y="21"/>
                    <a:pt x="3" y="21"/>
                  </a:cubicBezTo>
                  <a:cubicBezTo>
                    <a:pt x="16" y="21"/>
                    <a:pt x="16" y="21"/>
                    <a:pt x="16" y="21"/>
                  </a:cubicBezTo>
                  <a:cubicBezTo>
                    <a:pt x="17" y="21"/>
                    <a:pt x="18" y="21"/>
                    <a:pt x="19" y="20"/>
                  </a:cubicBezTo>
                  <a:cubicBezTo>
                    <a:pt x="19" y="19"/>
                    <a:pt x="20" y="18"/>
                    <a:pt x="20" y="17"/>
                  </a:cubicBezTo>
                  <a:cubicBezTo>
                    <a:pt x="20" y="4"/>
                    <a:pt x="20" y="4"/>
                    <a:pt x="20" y="4"/>
                  </a:cubicBezTo>
                  <a:cubicBezTo>
                    <a:pt x="20" y="3"/>
                    <a:pt x="19" y="2"/>
                    <a:pt x="19" y="1"/>
                  </a:cubicBezTo>
                  <a:cubicBezTo>
                    <a:pt x="18" y="0"/>
                    <a:pt x="17" y="0"/>
                    <a:pt x="16" y="0"/>
                  </a:cubicBezTo>
                  <a:close/>
                  <a:moveTo>
                    <a:pt x="7" y="7"/>
                  </a:moveTo>
                  <a:cubicBezTo>
                    <a:pt x="13" y="7"/>
                    <a:pt x="13" y="7"/>
                    <a:pt x="13" y="7"/>
                  </a:cubicBezTo>
                  <a:cubicBezTo>
                    <a:pt x="13" y="14"/>
                    <a:pt x="13" y="14"/>
                    <a:pt x="13" y="14"/>
                  </a:cubicBezTo>
                  <a:cubicBezTo>
                    <a:pt x="7" y="14"/>
                    <a:pt x="7" y="14"/>
                    <a:pt x="7" y="14"/>
                  </a:cubicBezTo>
                  <a:lnTo>
                    <a:pt x="7" y="7"/>
                  </a:lnTo>
                  <a:close/>
                </a:path>
              </a:pathLst>
            </a:custGeom>
            <a:solidFill>
              <a:srgbClr val="ED8B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NZ" dirty="0"/>
            </a:p>
          </p:txBody>
        </p:sp>
      </p:grpSp>
      <p:sp>
        <p:nvSpPr>
          <p:cNvPr id="279" name="Freeform 576">
            <a:extLst>
              <a:ext uri="{FF2B5EF4-FFF2-40B4-BE49-F238E27FC236}">
                <a16:creationId xmlns:a16="http://schemas.microsoft.com/office/drawing/2014/main" id="{39384204-9C30-4B87-A3F3-3B78AB9977BF}"/>
              </a:ext>
            </a:extLst>
          </p:cNvPr>
          <p:cNvSpPr>
            <a:spLocks noEditPoints="1"/>
          </p:cNvSpPr>
          <p:nvPr/>
        </p:nvSpPr>
        <p:spPr bwMode="auto">
          <a:xfrm>
            <a:off x="6692282" y="4968026"/>
            <a:ext cx="230504" cy="169616"/>
          </a:xfrm>
          <a:custGeom>
            <a:avLst/>
            <a:gdLst>
              <a:gd name="T0" fmla="*/ 309 w 320"/>
              <a:gd name="T1" fmla="*/ 43 h 235"/>
              <a:gd name="T2" fmla="*/ 234 w 320"/>
              <a:gd name="T3" fmla="*/ 43 h 235"/>
              <a:gd name="T4" fmla="*/ 192 w 320"/>
              <a:gd name="T5" fmla="*/ 0 h 235"/>
              <a:gd name="T6" fmla="*/ 128 w 320"/>
              <a:gd name="T7" fmla="*/ 0 h 235"/>
              <a:gd name="T8" fmla="*/ 85 w 320"/>
              <a:gd name="T9" fmla="*/ 43 h 235"/>
              <a:gd name="T10" fmla="*/ 10 w 320"/>
              <a:gd name="T11" fmla="*/ 43 h 235"/>
              <a:gd name="T12" fmla="*/ 0 w 320"/>
              <a:gd name="T13" fmla="*/ 54 h 235"/>
              <a:gd name="T14" fmla="*/ 0 w 320"/>
              <a:gd name="T15" fmla="*/ 118 h 235"/>
              <a:gd name="T16" fmla="*/ 10 w 320"/>
              <a:gd name="T17" fmla="*/ 128 h 235"/>
              <a:gd name="T18" fmla="*/ 21 w 320"/>
              <a:gd name="T19" fmla="*/ 128 h 235"/>
              <a:gd name="T20" fmla="*/ 21 w 320"/>
              <a:gd name="T21" fmla="*/ 224 h 235"/>
              <a:gd name="T22" fmla="*/ 32 w 320"/>
              <a:gd name="T23" fmla="*/ 235 h 235"/>
              <a:gd name="T24" fmla="*/ 288 w 320"/>
              <a:gd name="T25" fmla="*/ 235 h 235"/>
              <a:gd name="T26" fmla="*/ 298 w 320"/>
              <a:gd name="T27" fmla="*/ 224 h 235"/>
              <a:gd name="T28" fmla="*/ 298 w 320"/>
              <a:gd name="T29" fmla="*/ 128 h 235"/>
              <a:gd name="T30" fmla="*/ 309 w 320"/>
              <a:gd name="T31" fmla="*/ 128 h 235"/>
              <a:gd name="T32" fmla="*/ 320 w 320"/>
              <a:gd name="T33" fmla="*/ 118 h 235"/>
              <a:gd name="T34" fmla="*/ 320 w 320"/>
              <a:gd name="T35" fmla="*/ 54 h 235"/>
              <a:gd name="T36" fmla="*/ 309 w 320"/>
              <a:gd name="T37" fmla="*/ 43 h 235"/>
              <a:gd name="T38" fmla="*/ 128 w 320"/>
              <a:gd name="T39" fmla="*/ 22 h 235"/>
              <a:gd name="T40" fmla="*/ 192 w 320"/>
              <a:gd name="T41" fmla="*/ 22 h 235"/>
              <a:gd name="T42" fmla="*/ 213 w 320"/>
              <a:gd name="T43" fmla="*/ 43 h 235"/>
              <a:gd name="T44" fmla="*/ 106 w 320"/>
              <a:gd name="T45" fmla="*/ 43 h 235"/>
              <a:gd name="T46" fmla="*/ 128 w 320"/>
              <a:gd name="T47" fmla="*/ 22 h 235"/>
              <a:gd name="T48" fmla="*/ 277 w 320"/>
              <a:gd name="T49" fmla="*/ 214 h 235"/>
              <a:gd name="T50" fmla="*/ 42 w 320"/>
              <a:gd name="T51" fmla="*/ 214 h 235"/>
              <a:gd name="T52" fmla="*/ 42 w 320"/>
              <a:gd name="T53" fmla="*/ 128 h 235"/>
              <a:gd name="T54" fmla="*/ 128 w 320"/>
              <a:gd name="T55" fmla="*/ 128 h 235"/>
              <a:gd name="T56" fmla="*/ 128 w 320"/>
              <a:gd name="T57" fmla="*/ 139 h 235"/>
              <a:gd name="T58" fmla="*/ 138 w 320"/>
              <a:gd name="T59" fmla="*/ 150 h 235"/>
              <a:gd name="T60" fmla="*/ 181 w 320"/>
              <a:gd name="T61" fmla="*/ 150 h 235"/>
              <a:gd name="T62" fmla="*/ 192 w 320"/>
              <a:gd name="T63" fmla="*/ 139 h 235"/>
              <a:gd name="T64" fmla="*/ 192 w 320"/>
              <a:gd name="T65" fmla="*/ 128 h 235"/>
              <a:gd name="T66" fmla="*/ 277 w 320"/>
              <a:gd name="T67" fmla="*/ 128 h 235"/>
              <a:gd name="T68" fmla="*/ 277 w 320"/>
              <a:gd name="T69" fmla="*/ 214 h 235"/>
              <a:gd name="T70" fmla="*/ 170 w 320"/>
              <a:gd name="T71" fmla="*/ 128 h 235"/>
              <a:gd name="T72" fmla="*/ 149 w 320"/>
              <a:gd name="T73" fmla="*/ 128 h 235"/>
              <a:gd name="T74" fmla="*/ 149 w 320"/>
              <a:gd name="T75" fmla="*/ 107 h 235"/>
              <a:gd name="T76" fmla="*/ 170 w 320"/>
              <a:gd name="T77" fmla="*/ 107 h 235"/>
              <a:gd name="T78" fmla="*/ 170 w 320"/>
              <a:gd name="T79" fmla="*/ 128 h 235"/>
              <a:gd name="T80" fmla="*/ 298 w 320"/>
              <a:gd name="T81" fmla="*/ 107 h 235"/>
              <a:gd name="T82" fmla="*/ 192 w 320"/>
              <a:gd name="T83" fmla="*/ 107 h 235"/>
              <a:gd name="T84" fmla="*/ 192 w 320"/>
              <a:gd name="T85" fmla="*/ 96 h 235"/>
              <a:gd name="T86" fmla="*/ 181 w 320"/>
              <a:gd name="T87" fmla="*/ 86 h 235"/>
              <a:gd name="T88" fmla="*/ 138 w 320"/>
              <a:gd name="T89" fmla="*/ 86 h 235"/>
              <a:gd name="T90" fmla="*/ 128 w 320"/>
              <a:gd name="T91" fmla="*/ 96 h 235"/>
              <a:gd name="T92" fmla="*/ 128 w 320"/>
              <a:gd name="T93" fmla="*/ 107 h 235"/>
              <a:gd name="T94" fmla="*/ 21 w 320"/>
              <a:gd name="T95" fmla="*/ 107 h 235"/>
              <a:gd name="T96" fmla="*/ 21 w 320"/>
              <a:gd name="T97" fmla="*/ 64 h 235"/>
              <a:gd name="T98" fmla="*/ 298 w 320"/>
              <a:gd name="T99" fmla="*/ 64 h 235"/>
              <a:gd name="T100" fmla="*/ 298 w 320"/>
              <a:gd name="T101" fmla="*/ 10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20" h="235">
                <a:moveTo>
                  <a:pt x="309" y="43"/>
                </a:moveTo>
                <a:cubicBezTo>
                  <a:pt x="234" y="43"/>
                  <a:pt x="234" y="43"/>
                  <a:pt x="234" y="43"/>
                </a:cubicBezTo>
                <a:cubicBezTo>
                  <a:pt x="234" y="19"/>
                  <a:pt x="215" y="0"/>
                  <a:pt x="192" y="0"/>
                </a:cubicBezTo>
                <a:cubicBezTo>
                  <a:pt x="128" y="0"/>
                  <a:pt x="128" y="0"/>
                  <a:pt x="128" y="0"/>
                </a:cubicBezTo>
                <a:cubicBezTo>
                  <a:pt x="104" y="0"/>
                  <a:pt x="85" y="19"/>
                  <a:pt x="85" y="43"/>
                </a:cubicBezTo>
                <a:cubicBezTo>
                  <a:pt x="10" y="43"/>
                  <a:pt x="10" y="43"/>
                  <a:pt x="10" y="43"/>
                </a:cubicBezTo>
                <a:cubicBezTo>
                  <a:pt x="4" y="43"/>
                  <a:pt x="0" y="48"/>
                  <a:pt x="0" y="54"/>
                </a:cubicBezTo>
                <a:cubicBezTo>
                  <a:pt x="0" y="118"/>
                  <a:pt x="0" y="118"/>
                  <a:pt x="0" y="118"/>
                </a:cubicBezTo>
                <a:cubicBezTo>
                  <a:pt x="0" y="124"/>
                  <a:pt x="4" y="128"/>
                  <a:pt x="10" y="128"/>
                </a:cubicBezTo>
                <a:cubicBezTo>
                  <a:pt x="21" y="128"/>
                  <a:pt x="21" y="128"/>
                  <a:pt x="21" y="128"/>
                </a:cubicBezTo>
                <a:cubicBezTo>
                  <a:pt x="21" y="224"/>
                  <a:pt x="21" y="224"/>
                  <a:pt x="21" y="224"/>
                </a:cubicBezTo>
                <a:cubicBezTo>
                  <a:pt x="21" y="230"/>
                  <a:pt x="26" y="235"/>
                  <a:pt x="32" y="235"/>
                </a:cubicBezTo>
                <a:cubicBezTo>
                  <a:pt x="288" y="235"/>
                  <a:pt x="288" y="235"/>
                  <a:pt x="288" y="235"/>
                </a:cubicBezTo>
                <a:cubicBezTo>
                  <a:pt x="294" y="235"/>
                  <a:pt x="298" y="230"/>
                  <a:pt x="298" y="224"/>
                </a:cubicBezTo>
                <a:cubicBezTo>
                  <a:pt x="298" y="128"/>
                  <a:pt x="298" y="128"/>
                  <a:pt x="298" y="128"/>
                </a:cubicBezTo>
                <a:cubicBezTo>
                  <a:pt x="309" y="128"/>
                  <a:pt x="309" y="128"/>
                  <a:pt x="309" y="128"/>
                </a:cubicBezTo>
                <a:cubicBezTo>
                  <a:pt x="315" y="128"/>
                  <a:pt x="320" y="124"/>
                  <a:pt x="320" y="118"/>
                </a:cubicBezTo>
                <a:cubicBezTo>
                  <a:pt x="320" y="54"/>
                  <a:pt x="320" y="54"/>
                  <a:pt x="320" y="54"/>
                </a:cubicBezTo>
                <a:cubicBezTo>
                  <a:pt x="320" y="48"/>
                  <a:pt x="315" y="43"/>
                  <a:pt x="309" y="43"/>
                </a:cubicBezTo>
                <a:close/>
                <a:moveTo>
                  <a:pt x="128" y="22"/>
                </a:moveTo>
                <a:cubicBezTo>
                  <a:pt x="192" y="22"/>
                  <a:pt x="192" y="22"/>
                  <a:pt x="192" y="22"/>
                </a:cubicBezTo>
                <a:cubicBezTo>
                  <a:pt x="203" y="22"/>
                  <a:pt x="213" y="31"/>
                  <a:pt x="213" y="43"/>
                </a:cubicBezTo>
                <a:cubicBezTo>
                  <a:pt x="106" y="43"/>
                  <a:pt x="106" y="43"/>
                  <a:pt x="106" y="43"/>
                </a:cubicBezTo>
                <a:cubicBezTo>
                  <a:pt x="106" y="31"/>
                  <a:pt x="116" y="22"/>
                  <a:pt x="128" y="22"/>
                </a:cubicBezTo>
                <a:close/>
                <a:moveTo>
                  <a:pt x="277" y="214"/>
                </a:moveTo>
                <a:cubicBezTo>
                  <a:pt x="42" y="214"/>
                  <a:pt x="42" y="214"/>
                  <a:pt x="42" y="214"/>
                </a:cubicBezTo>
                <a:cubicBezTo>
                  <a:pt x="42" y="128"/>
                  <a:pt x="42" y="128"/>
                  <a:pt x="42" y="128"/>
                </a:cubicBezTo>
                <a:cubicBezTo>
                  <a:pt x="128" y="128"/>
                  <a:pt x="128" y="128"/>
                  <a:pt x="128" y="128"/>
                </a:cubicBezTo>
                <a:cubicBezTo>
                  <a:pt x="128" y="139"/>
                  <a:pt x="128" y="139"/>
                  <a:pt x="128" y="139"/>
                </a:cubicBezTo>
                <a:cubicBezTo>
                  <a:pt x="128" y="145"/>
                  <a:pt x="132" y="150"/>
                  <a:pt x="138" y="150"/>
                </a:cubicBezTo>
                <a:cubicBezTo>
                  <a:pt x="181" y="150"/>
                  <a:pt x="181" y="150"/>
                  <a:pt x="181" y="150"/>
                </a:cubicBezTo>
                <a:cubicBezTo>
                  <a:pt x="187" y="150"/>
                  <a:pt x="192" y="145"/>
                  <a:pt x="192" y="139"/>
                </a:cubicBezTo>
                <a:cubicBezTo>
                  <a:pt x="192" y="128"/>
                  <a:pt x="192" y="128"/>
                  <a:pt x="192" y="128"/>
                </a:cubicBezTo>
                <a:cubicBezTo>
                  <a:pt x="277" y="128"/>
                  <a:pt x="277" y="128"/>
                  <a:pt x="277" y="128"/>
                </a:cubicBezTo>
                <a:lnTo>
                  <a:pt x="277" y="214"/>
                </a:lnTo>
                <a:close/>
                <a:moveTo>
                  <a:pt x="170" y="128"/>
                </a:moveTo>
                <a:cubicBezTo>
                  <a:pt x="149" y="128"/>
                  <a:pt x="149" y="128"/>
                  <a:pt x="149" y="128"/>
                </a:cubicBezTo>
                <a:cubicBezTo>
                  <a:pt x="149" y="107"/>
                  <a:pt x="149" y="107"/>
                  <a:pt x="149" y="107"/>
                </a:cubicBezTo>
                <a:cubicBezTo>
                  <a:pt x="170" y="107"/>
                  <a:pt x="170" y="107"/>
                  <a:pt x="170" y="107"/>
                </a:cubicBezTo>
                <a:lnTo>
                  <a:pt x="170" y="128"/>
                </a:lnTo>
                <a:close/>
                <a:moveTo>
                  <a:pt x="298" y="107"/>
                </a:moveTo>
                <a:cubicBezTo>
                  <a:pt x="192" y="107"/>
                  <a:pt x="192" y="107"/>
                  <a:pt x="192" y="107"/>
                </a:cubicBezTo>
                <a:cubicBezTo>
                  <a:pt x="192" y="96"/>
                  <a:pt x="192" y="96"/>
                  <a:pt x="192" y="96"/>
                </a:cubicBezTo>
                <a:cubicBezTo>
                  <a:pt x="192" y="90"/>
                  <a:pt x="187" y="86"/>
                  <a:pt x="181" y="86"/>
                </a:cubicBezTo>
                <a:cubicBezTo>
                  <a:pt x="138" y="86"/>
                  <a:pt x="138" y="86"/>
                  <a:pt x="138" y="86"/>
                </a:cubicBezTo>
                <a:cubicBezTo>
                  <a:pt x="132" y="86"/>
                  <a:pt x="128" y="90"/>
                  <a:pt x="128" y="96"/>
                </a:cubicBezTo>
                <a:cubicBezTo>
                  <a:pt x="128" y="107"/>
                  <a:pt x="128" y="107"/>
                  <a:pt x="128" y="107"/>
                </a:cubicBezTo>
                <a:cubicBezTo>
                  <a:pt x="21" y="107"/>
                  <a:pt x="21" y="107"/>
                  <a:pt x="21" y="107"/>
                </a:cubicBezTo>
                <a:cubicBezTo>
                  <a:pt x="21" y="64"/>
                  <a:pt x="21" y="64"/>
                  <a:pt x="21" y="64"/>
                </a:cubicBezTo>
                <a:cubicBezTo>
                  <a:pt x="298" y="64"/>
                  <a:pt x="298" y="64"/>
                  <a:pt x="298" y="64"/>
                </a:cubicBezTo>
                <a:lnTo>
                  <a:pt x="298" y="107"/>
                </a:lnTo>
                <a:close/>
              </a:path>
            </a:pathLst>
          </a:custGeom>
          <a:solidFill>
            <a:srgbClr val="007680"/>
          </a:solid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nvGrpSpPr>
          <p:cNvPr id="280" name="Group 279">
            <a:extLst>
              <a:ext uri="{FF2B5EF4-FFF2-40B4-BE49-F238E27FC236}">
                <a16:creationId xmlns:a16="http://schemas.microsoft.com/office/drawing/2014/main" id="{916FBD03-0BB6-4D22-8FCD-860B81703237}"/>
              </a:ext>
            </a:extLst>
          </p:cNvPr>
          <p:cNvGrpSpPr>
            <a:grpSpLocks noChangeAspect="1"/>
          </p:cNvGrpSpPr>
          <p:nvPr/>
        </p:nvGrpSpPr>
        <p:grpSpPr>
          <a:xfrm>
            <a:off x="8104979" y="4914098"/>
            <a:ext cx="255837" cy="282313"/>
            <a:chOff x="8085744" y="5156462"/>
            <a:chExt cx="314582" cy="347139"/>
          </a:xfrm>
        </p:grpSpPr>
        <p:sp>
          <p:nvSpPr>
            <p:cNvPr id="281" name="Freeform 756">
              <a:extLst>
                <a:ext uri="{FF2B5EF4-FFF2-40B4-BE49-F238E27FC236}">
                  <a16:creationId xmlns:a16="http://schemas.microsoft.com/office/drawing/2014/main" id="{17E9F5FE-2726-4B77-9D31-49E49981FB3D}"/>
                </a:ext>
              </a:extLst>
            </p:cNvPr>
            <p:cNvSpPr>
              <a:spLocks noEditPoints="1"/>
            </p:cNvSpPr>
            <p:nvPr/>
          </p:nvSpPr>
          <p:spPr bwMode="auto">
            <a:xfrm>
              <a:off x="8085744" y="5288223"/>
              <a:ext cx="215378" cy="215378"/>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solidFill>
              <a:srgbClr val="012169"/>
            </a:solid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2" name="Freeform 756">
              <a:extLst>
                <a:ext uri="{FF2B5EF4-FFF2-40B4-BE49-F238E27FC236}">
                  <a16:creationId xmlns:a16="http://schemas.microsoft.com/office/drawing/2014/main" id="{D5E6DF13-4D47-4F66-AA9B-2D0A0D3CFEE9}"/>
                </a:ext>
              </a:extLst>
            </p:cNvPr>
            <p:cNvSpPr>
              <a:spLocks noEditPoints="1"/>
            </p:cNvSpPr>
            <p:nvPr/>
          </p:nvSpPr>
          <p:spPr bwMode="auto">
            <a:xfrm>
              <a:off x="8184948" y="5240078"/>
              <a:ext cx="215378" cy="215378"/>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solidFill>
              <a:srgbClr val="012169"/>
            </a:solid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3" name="Freeform 756">
              <a:extLst>
                <a:ext uri="{FF2B5EF4-FFF2-40B4-BE49-F238E27FC236}">
                  <a16:creationId xmlns:a16="http://schemas.microsoft.com/office/drawing/2014/main" id="{88D71C35-06CE-465A-85A0-6E5C0693DD14}"/>
                </a:ext>
              </a:extLst>
            </p:cNvPr>
            <p:cNvSpPr>
              <a:spLocks noEditPoints="1"/>
            </p:cNvSpPr>
            <p:nvPr/>
          </p:nvSpPr>
          <p:spPr bwMode="auto">
            <a:xfrm>
              <a:off x="8140733" y="5156462"/>
              <a:ext cx="215378" cy="215378"/>
            </a:xfrm>
            <a:custGeom>
              <a:avLst/>
              <a:gdLst>
                <a:gd name="T0" fmla="*/ 165 w 299"/>
                <a:gd name="T1" fmla="*/ 29 h 299"/>
                <a:gd name="T2" fmla="*/ 121 w 299"/>
                <a:gd name="T3" fmla="*/ 24 h 299"/>
                <a:gd name="T4" fmla="*/ 154 w 299"/>
                <a:gd name="T5" fmla="*/ 1 h 299"/>
                <a:gd name="T6" fmla="*/ 64 w 299"/>
                <a:gd name="T7" fmla="*/ 61 h 299"/>
                <a:gd name="T8" fmla="*/ 107 w 299"/>
                <a:gd name="T9" fmla="*/ 31 h 299"/>
                <a:gd name="T10" fmla="*/ 54 w 299"/>
                <a:gd name="T11" fmla="*/ 55 h 299"/>
                <a:gd name="T12" fmla="*/ 26 w 299"/>
                <a:gd name="T13" fmla="*/ 56 h 299"/>
                <a:gd name="T14" fmla="*/ 0 w 299"/>
                <a:gd name="T15" fmla="*/ 96 h 299"/>
                <a:gd name="T16" fmla="*/ 22 w 299"/>
                <a:gd name="T17" fmla="*/ 91 h 299"/>
                <a:gd name="T18" fmla="*/ 40 w 299"/>
                <a:gd name="T19" fmla="*/ 88 h 299"/>
                <a:gd name="T20" fmla="*/ 59 w 299"/>
                <a:gd name="T21" fmla="*/ 109 h 299"/>
                <a:gd name="T22" fmla="*/ 107 w 299"/>
                <a:gd name="T23" fmla="*/ 119 h 299"/>
                <a:gd name="T24" fmla="*/ 54 w 299"/>
                <a:gd name="T25" fmla="*/ 95 h 299"/>
                <a:gd name="T26" fmla="*/ 150 w 299"/>
                <a:gd name="T27" fmla="*/ 127 h 299"/>
                <a:gd name="T28" fmla="*/ 126 w 299"/>
                <a:gd name="T29" fmla="*/ 139 h 299"/>
                <a:gd name="T30" fmla="*/ 150 w 299"/>
                <a:gd name="T31" fmla="*/ 171 h 299"/>
                <a:gd name="T32" fmla="*/ 174 w 299"/>
                <a:gd name="T33" fmla="*/ 139 h 299"/>
                <a:gd name="T34" fmla="*/ 231 w 299"/>
                <a:gd name="T35" fmla="*/ 89 h 299"/>
                <a:gd name="T36" fmla="*/ 202 w 299"/>
                <a:gd name="T37" fmla="*/ 125 h 299"/>
                <a:gd name="T38" fmla="*/ 245 w 299"/>
                <a:gd name="T39" fmla="*/ 95 h 299"/>
                <a:gd name="T40" fmla="*/ 273 w 299"/>
                <a:gd name="T41" fmla="*/ 56 h 299"/>
                <a:gd name="T42" fmla="*/ 259 w 299"/>
                <a:gd name="T43" fmla="*/ 88 h 299"/>
                <a:gd name="T44" fmla="*/ 278 w 299"/>
                <a:gd name="T45" fmla="*/ 91 h 299"/>
                <a:gd name="T46" fmla="*/ 299 w 299"/>
                <a:gd name="T47" fmla="*/ 96 h 299"/>
                <a:gd name="T48" fmla="*/ 240 w 299"/>
                <a:gd name="T49" fmla="*/ 41 h 299"/>
                <a:gd name="T50" fmla="*/ 198 w 299"/>
                <a:gd name="T51" fmla="*/ 45 h 299"/>
                <a:gd name="T52" fmla="*/ 245 w 299"/>
                <a:gd name="T53" fmla="*/ 55 h 299"/>
                <a:gd name="T54" fmla="*/ 22 w 299"/>
                <a:gd name="T55" fmla="*/ 160 h 299"/>
                <a:gd name="T56" fmla="*/ 0 w 299"/>
                <a:gd name="T57" fmla="*/ 128 h 299"/>
                <a:gd name="T58" fmla="*/ 35 w 299"/>
                <a:gd name="T59" fmla="*/ 214 h 299"/>
                <a:gd name="T60" fmla="*/ 11 w 299"/>
                <a:gd name="T61" fmla="*/ 181 h 299"/>
                <a:gd name="T62" fmla="*/ 6 w 299"/>
                <a:gd name="T63" fmla="*/ 223 h 299"/>
                <a:gd name="T64" fmla="*/ 39 w 299"/>
                <a:gd name="T65" fmla="*/ 229 h 299"/>
                <a:gd name="T66" fmla="*/ 69 w 299"/>
                <a:gd name="T67" fmla="*/ 232 h 299"/>
                <a:gd name="T68" fmla="*/ 92 w 299"/>
                <a:gd name="T69" fmla="*/ 269 h 299"/>
                <a:gd name="T70" fmla="*/ 102 w 299"/>
                <a:gd name="T71" fmla="*/ 250 h 299"/>
                <a:gd name="T72" fmla="*/ 160 w 299"/>
                <a:gd name="T73" fmla="*/ 203 h 299"/>
                <a:gd name="T74" fmla="*/ 139 w 299"/>
                <a:gd name="T75" fmla="*/ 235 h 299"/>
                <a:gd name="T76" fmla="*/ 160 w 299"/>
                <a:gd name="T77" fmla="*/ 271 h 299"/>
                <a:gd name="T78" fmla="*/ 139 w 299"/>
                <a:gd name="T79" fmla="*/ 267 h 299"/>
                <a:gd name="T80" fmla="*/ 121 w 299"/>
                <a:gd name="T81" fmla="*/ 273 h 299"/>
                <a:gd name="T82" fmla="*/ 150 w 299"/>
                <a:gd name="T83" fmla="*/ 299 h 299"/>
                <a:gd name="T84" fmla="*/ 174 w 299"/>
                <a:gd name="T85" fmla="*/ 289 h 299"/>
                <a:gd name="T86" fmla="*/ 231 w 299"/>
                <a:gd name="T87" fmla="*/ 239 h 299"/>
                <a:gd name="T88" fmla="*/ 202 w 299"/>
                <a:gd name="T89" fmla="*/ 274 h 299"/>
                <a:gd name="T90" fmla="*/ 245 w 299"/>
                <a:gd name="T91" fmla="*/ 244 h 299"/>
                <a:gd name="T92" fmla="*/ 278 w 299"/>
                <a:gd name="T93" fmla="*/ 203 h 299"/>
                <a:gd name="T94" fmla="*/ 259 w 299"/>
                <a:gd name="T95" fmla="*/ 237 h 299"/>
                <a:gd name="T96" fmla="*/ 293 w 299"/>
                <a:gd name="T97" fmla="*/ 234 h 299"/>
                <a:gd name="T98" fmla="*/ 288 w 299"/>
                <a:gd name="T99" fmla="*/ 192 h 299"/>
                <a:gd name="T100" fmla="*/ 278 w 299"/>
                <a:gd name="T101" fmla="*/ 171 h 299"/>
                <a:gd name="T102" fmla="*/ 299 w 299"/>
                <a:gd name="T103" fmla="*/ 139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99" h="299">
                  <a:moveTo>
                    <a:pt x="179" y="24"/>
                  </a:moveTo>
                  <a:cubicBezTo>
                    <a:pt x="177" y="28"/>
                    <a:pt x="173" y="30"/>
                    <a:pt x="169" y="30"/>
                  </a:cubicBezTo>
                  <a:cubicBezTo>
                    <a:pt x="168" y="30"/>
                    <a:pt x="166" y="30"/>
                    <a:pt x="165" y="29"/>
                  </a:cubicBezTo>
                  <a:cubicBezTo>
                    <a:pt x="150" y="22"/>
                    <a:pt x="150" y="22"/>
                    <a:pt x="150" y="22"/>
                  </a:cubicBezTo>
                  <a:cubicBezTo>
                    <a:pt x="135" y="29"/>
                    <a:pt x="135" y="29"/>
                    <a:pt x="135" y="29"/>
                  </a:cubicBezTo>
                  <a:cubicBezTo>
                    <a:pt x="129" y="32"/>
                    <a:pt x="123" y="29"/>
                    <a:pt x="121" y="24"/>
                  </a:cubicBezTo>
                  <a:cubicBezTo>
                    <a:pt x="118" y="19"/>
                    <a:pt x="120" y="12"/>
                    <a:pt x="126" y="10"/>
                  </a:cubicBezTo>
                  <a:cubicBezTo>
                    <a:pt x="145" y="1"/>
                    <a:pt x="145" y="1"/>
                    <a:pt x="145" y="1"/>
                  </a:cubicBezTo>
                  <a:cubicBezTo>
                    <a:pt x="148" y="0"/>
                    <a:pt x="151" y="0"/>
                    <a:pt x="154" y="1"/>
                  </a:cubicBezTo>
                  <a:cubicBezTo>
                    <a:pt x="174" y="10"/>
                    <a:pt x="174" y="10"/>
                    <a:pt x="174" y="10"/>
                  </a:cubicBezTo>
                  <a:cubicBezTo>
                    <a:pt x="179" y="12"/>
                    <a:pt x="181" y="19"/>
                    <a:pt x="179" y="24"/>
                  </a:cubicBezTo>
                  <a:close/>
                  <a:moveTo>
                    <a:pt x="64" y="61"/>
                  </a:moveTo>
                  <a:cubicBezTo>
                    <a:pt x="65" y="61"/>
                    <a:pt x="67" y="61"/>
                    <a:pt x="68" y="60"/>
                  </a:cubicBezTo>
                  <a:cubicBezTo>
                    <a:pt x="101" y="45"/>
                    <a:pt x="101" y="45"/>
                    <a:pt x="101" y="45"/>
                  </a:cubicBezTo>
                  <a:cubicBezTo>
                    <a:pt x="107" y="42"/>
                    <a:pt x="109" y="36"/>
                    <a:pt x="107" y="31"/>
                  </a:cubicBezTo>
                  <a:cubicBezTo>
                    <a:pt x="104" y="25"/>
                    <a:pt x="98" y="23"/>
                    <a:pt x="93" y="25"/>
                  </a:cubicBezTo>
                  <a:cubicBezTo>
                    <a:pt x="59" y="41"/>
                    <a:pt x="59" y="41"/>
                    <a:pt x="59" y="41"/>
                  </a:cubicBezTo>
                  <a:cubicBezTo>
                    <a:pt x="54" y="43"/>
                    <a:pt x="52" y="49"/>
                    <a:pt x="54" y="55"/>
                  </a:cubicBezTo>
                  <a:cubicBezTo>
                    <a:pt x="56" y="59"/>
                    <a:pt x="60" y="61"/>
                    <a:pt x="64" y="61"/>
                  </a:cubicBezTo>
                  <a:close/>
                  <a:moveTo>
                    <a:pt x="40" y="61"/>
                  </a:moveTo>
                  <a:cubicBezTo>
                    <a:pt x="38" y="56"/>
                    <a:pt x="31" y="54"/>
                    <a:pt x="26" y="56"/>
                  </a:cubicBezTo>
                  <a:cubicBezTo>
                    <a:pt x="7" y="65"/>
                    <a:pt x="7" y="65"/>
                    <a:pt x="7" y="65"/>
                  </a:cubicBezTo>
                  <a:cubicBezTo>
                    <a:pt x="3" y="67"/>
                    <a:pt x="0" y="71"/>
                    <a:pt x="0" y="75"/>
                  </a:cubicBezTo>
                  <a:cubicBezTo>
                    <a:pt x="0" y="96"/>
                    <a:pt x="0" y="96"/>
                    <a:pt x="0" y="96"/>
                  </a:cubicBezTo>
                  <a:cubicBezTo>
                    <a:pt x="0" y="102"/>
                    <a:pt x="5" y="107"/>
                    <a:pt x="11" y="107"/>
                  </a:cubicBezTo>
                  <a:cubicBezTo>
                    <a:pt x="17" y="107"/>
                    <a:pt x="22" y="102"/>
                    <a:pt x="22" y="96"/>
                  </a:cubicBezTo>
                  <a:cubicBezTo>
                    <a:pt x="22" y="91"/>
                    <a:pt x="22" y="91"/>
                    <a:pt x="22" y="91"/>
                  </a:cubicBezTo>
                  <a:cubicBezTo>
                    <a:pt x="26" y="93"/>
                    <a:pt x="26" y="93"/>
                    <a:pt x="26" y="93"/>
                  </a:cubicBezTo>
                  <a:cubicBezTo>
                    <a:pt x="27" y="94"/>
                    <a:pt x="29" y="94"/>
                    <a:pt x="30" y="94"/>
                  </a:cubicBezTo>
                  <a:cubicBezTo>
                    <a:pt x="34" y="94"/>
                    <a:pt x="38" y="92"/>
                    <a:pt x="40" y="88"/>
                  </a:cubicBezTo>
                  <a:cubicBezTo>
                    <a:pt x="42" y="83"/>
                    <a:pt x="41" y="78"/>
                    <a:pt x="36" y="75"/>
                  </a:cubicBezTo>
                  <a:cubicBezTo>
                    <a:pt x="41" y="72"/>
                    <a:pt x="42" y="66"/>
                    <a:pt x="40" y="61"/>
                  </a:cubicBezTo>
                  <a:close/>
                  <a:moveTo>
                    <a:pt x="59" y="109"/>
                  </a:moveTo>
                  <a:cubicBezTo>
                    <a:pt x="93" y="124"/>
                    <a:pt x="93" y="124"/>
                    <a:pt x="93" y="124"/>
                  </a:cubicBezTo>
                  <a:cubicBezTo>
                    <a:pt x="94" y="125"/>
                    <a:pt x="95" y="125"/>
                    <a:pt x="97" y="125"/>
                  </a:cubicBezTo>
                  <a:cubicBezTo>
                    <a:pt x="101" y="125"/>
                    <a:pt x="105" y="123"/>
                    <a:pt x="107" y="119"/>
                  </a:cubicBezTo>
                  <a:cubicBezTo>
                    <a:pt x="109" y="113"/>
                    <a:pt x="107" y="107"/>
                    <a:pt x="101" y="105"/>
                  </a:cubicBezTo>
                  <a:cubicBezTo>
                    <a:pt x="68" y="89"/>
                    <a:pt x="68" y="89"/>
                    <a:pt x="68" y="89"/>
                  </a:cubicBezTo>
                  <a:cubicBezTo>
                    <a:pt x="63" y="87"/>
                    <a:pt x="56" y="89"/>
                    <a:pt x="54" y="95"/>
                  </a:cubicBezTo>
                  <a:cubicBezTo>
                    <a:pt x="52" y="100"/>
                    <a:pt x="54" y="106"/>
                    <a:pt x="59" y="109"/>
                  </a:cubicBezTo>
                  <a:close/>
                  <a:moveTo>
                    <a:pt x="165" y="120"/>
                  </a:moveTo>
                  <a:cubicBezTo>
                    <a:pt x="150" y="127"/>
                    <a:pt x="150" y="127"/>
                    <a:pt x="150" y="127"/>
                  </a:cubicBezTo>
                  <a:cubicBezTo>
                    <a:pt x="135" y="120"/>
                    <a:pt x="135" y="120"/>
                    <a:pt x="135" y="120"/>
                  </a:cubicBezTo>
                  <a:cubicBezTo>
                    <a:pt x="129" y="118"/>
                    <a:pt x="123" y="120"/>
                    <a:pt x="121" y="125"/>
                  </a:cubicBezTo>
                  <a:cubicBezTo>
                    <a:pt x="118" y="131"/>
                    <a:pt x="120" y="137"/>
                    <a:pt x="126" y="139"/>
                  </a:cubicBezTo>
                  <a:cubicBezTo>
                    <a:pt x="139" y="145"/>
                    <a:pt x="139" y="145"/>
                    <a:pt x="139" y="145"/>
                  </a:cubicBezTo>
                  <a:cubicBezTo>
                    <a:pt x="139" y="160"/>
                    <a:pt x="139" y="160"/>
                    <a:pt x="139" y="160"/>
                  </a:cubicBezTo>
                  <a:cubicBezTo>
                    <a:pt x="139" y="166"/>
                    <a:pt x="144" y="171"/>
                    <a:pt x="150" y="171"/>
                  </a:cubicBezTo>
                  <a:cubicBezTo>
                    <a:pt x="156" y="171"/>
                    <a:pt x="160" y="166"/>
                    <a:pt x="160" y="160"/>
                  </a:cubicBezTo>
                  <a:cubicBezTo>
                    <a:pt x="160" y="145"/>
                    <a:pt x="160" y="145"/>
                    <a:pt x="160" y="145"/>
                  </a:cubicBezTo>
                  <a:cubicBezTo>
                    <a:pt x="174" y="139"/>
                    <a:pt x="174" y="139"/>
                    <a:pt x="174" y="139"/>
                  </a:cubicBezTo>
                  <a:cubicBezTo>
                    <a:pt x="179" y="137"/>
                    <a:pt x="181" y="131"/>
                    <a:pt x="179" y="125"/>
                  </a:cubicBezTo>
                  <a:cubicBezTo>
                    <a:pt x="176" y="120"/>
                    <a:pt x="170" y="118"/>
                    <a:pt x="165" y="120"/>
                  </a:cubicBezTo>
                  <a:close/>
                  <a:moveTo>
                    <a:pt x="231" y="89"/>
                  </a:moveTo>
                  <a:cubicBezTo>
                    <a:pt x="198" y="105"/>
                    <a:pt x="198" y="105"/>
                    <a:pt x="198" y="105"/>
                  </a:cubicBezTo>
                  <a:cubicBezTo>
                    <a:pt x="193" y="107"/>
                    <a:pt x="190" y="113"/>
                    <a:pt x="193" y="119"/>
                  </a:cubicBezTo>
                  <a:cubicBezTo>
                    <a:pt x="194" y="123"/>
                    <a:pt x="198" y="125"/>
                    <a:pt x="202" y="125"/>
                  </a:cubicBezTo>
                  <a:cubicBezTo>
                    <a:pt x="204" y="125"/>
                    <a:pt x="205" y="125"/>
                    <a:pt x="207" y="124"/>
                  </a:cubicBezTo>
                  <a:cubicBezTo>
                    <a:pt x="240" y="109"/>
                    <a:pt x="240" y="109"/>
                    <a:pt x="240" y="109"/>
                  </a:cubicBezTo>
                  <a:cubicBezTo>
                    <a:pt x="245" y="106"/>
                    <a:pt x="248" y="100"/>
                    <a:pt x="245" y="95"/>
                  </a:cubicBezTo>
                  <a:cubicBezTo>
                    <a:pt x="243" y="89"/>
                    <a:pt x="237" y="87"/>
                    <a:pt x="231" y="89"/>
                  </a:cubicBezTo>
                  <a:close/>
                  <a:moveTo>
                    <a:pt x="293" y="65"/>
                  </a:moveTo>
                  <a:cubicBezTo>
                    <a:pt x="273" y="56"/>
                    <a:pt x="273" y="56"/>
                    <a:pt x="273" y="56"/>
                  </a:cubicBezTo>
                  <a:cubicBezTo>
                    <a:pt x="268" y="54"/>
                    <a:pt x="262" y="56"/>
                    <a:pt x="259" y="61"/>
                  </a:cubicBezTo>
                  <a:cubicBezTo>
                    <a:pt x="257" y="66"/>
                    <a:pt x="259" y="72"/>
                    <a:pt x="263" y="75"/>
                  </a:cubicBezTo>
                  <a:cubicBezTo>
                    <a:pt x="259" y="78"/>
                    <a:pt x="257" y="83"/>
                    <a:pt x="259" y="88"/>
                  </a:cubicBezTo>
                  <a:cubicBezTo>
                    <a:pt x="261" y="92"/>
                    <a:pt x="265" y="94"/>
                    <a:pt x="269" y="94"/>
                  </a:cubicBezTo>
                  <a:cubicBezTo>
                    <a:pt x="270" y="94"/>
                    <a:pt x="272" y="94"/>
                    <a:pt x="273" y="93"/>
                  </a:cubicBezTo>
                  <a:cubicBezTo>
                    <a:pt x="278" y="91"/>
                    <a:pt x="278" y="91"/>
                    <a:pt x="278" y="91"/>
                  </a:cubicBezTo>
                  <a:cubicBezTo>
                    <a:pt x="278" y="96"/>
                    <a:pt x="278" y="96"/>
                    <a:pt x="278" y="96"/>
                  </a:cubicBezTo>
                  <a:cubicBezTo>
                    <a:pt x="278" y="102"/>
                    <a:pt x="282" y="107"/>
                    <a:pt x="288" y="107"/>
                  </a:cubicBezTo>
                  <a:cubicBezTo>
                    <a:pt x="294" y="107"/>
                    <a:pt x="299" y="102"/>
                    <a:pt x="299" y="96"/>
                  </a:cubicBezTo>
                  <a:cubicBezTo>
                    <a:pt x="299" y="75"/>
                    <a:pt x="299" y="75"/>
                    <a:pt x="299" y="75"/>
                  </a:cubicBezTo>
                  <a:cubicBezTo>
                    <a:pt x="299" y="71"/>
                    <a:pt x="297" y="67"/>
                    <a:pt x="293" y="65"/>
                  </a:cubicBezTo>
                  <a:close/>
                  <a:moveTo>
                    <a:pt x="240" y="41"/>
                  </a:moveTo>
                  <a:cubicBezTo>
                    <a:pt x="207" y="25"/>
                    <a:pt x="207" y="25"/>
                    <a:pt x="207" y="25"/>
                  </a:cubicBezTo>
                  <a:cubicBezTo>
                    <a:pt x="201" y="23"/>
                    <a:pt x="195" y="25"/>
                    <a:pt x="193" y="31"/>
                  </a:cubicBezTo>
                  <a:cubicBezTo>
                    <a:pt x="190" y="36"/>
                    <a:pt x="193" y="42"/>
                    <a:pt x="198" y="45"/>
                  </a:cubicBezTo>
                  <a:cubicBezTo>
                    <a:pt x="231" y="60"/>
                    <a:pt x="231" y="60"/>
                    <a:pt x="231" y="60"/>
                  </a:cubicBezTo>
                  <a:cubicBezTo>
                    <a:pt x="233" y="61"/>
                    <a:pt x="234" y="61"/>
                    <a:pt x="236" y="61"/>
                  </a:cubicBezTo>
                  <a:cubicBezTo>
                    <a:pt x="240" y="61"/>
                    <a:pt x="244" y="59"/>
                    <a:pt x="245" y="55"/>
                  </a:cubicBezTo>
                  <a:cubicBezTo>
                    <a:pt x="248" y="49"/>
                    <a:pt x="245" y="43"/>
                    <a:pt x="240" y="41"/>
                  </a:cubicBezTo>
                  <a:close/>
                  <a:moveTo>
                    <a:pt x="11" y="171"/>
                  </a:moveTo>
                  <a:cubicBezTo>
                    <a:pt x="17" y="171"/>
                    <a:pt x="22" y="166"/>
                    <a:pt x="22" y="160"/>
                  </a:cubicBezTo>
                  <a:cubicBezTo>
                    <a:pt x="22" y="128"/>
                    <a:pt x="22" y="128"/>
                    <a:pt x="22" y="128"/>
                  </a:cubicBezTo>
                  <a:cubicBezTo>
                    <a:pt x="22" y="122"/>
                    <a:pt x="17" y="117"/>
                    <a:pt x="11" y="117"/>
                  </a:cubicBezTo>
                  <a:cubicBezTo>
                    <a:pt x="5" y="117"/>
                    <a:pt x="0" y="122"/>
                    <a:pt x="0" y="128"/>
                  </a:cubicBezTo>
                  <a:cubicBezTo>
                    <a:pt x="0" y="160"/>
                    <a:pt x="0" y="160"/>
                    <a:pt x="0" y="160"/>
                  </a:cubicBezTo>
                  <a:cubicBezTo>
                    <a:pt x="0" y="166"/>
                    <a:pt x="5" y="171"/>
                    <a:pt x="11" y="171"/>
                  </a:cubicBezTo>
                  <a:close/>
                  <a:moveTo>
                    <a:pt x="35" y="214"/>
                  </a:moveTo>
                  <a:cubicBezTo>
                    <a:pt x="22" y="207"/>
                    <a:pt x="22" y="207"/>
                    <a:pt x="22" y="207"/>
                  </a:cubicBezTo>
                  <a:cubicBezTo>
                    <a:pt x="22" y="192"/>
                    <a:pt x="22" y="192"/>
                    <a:pt x="22" y="192"/>
                  </a:cubicBezTo>
                  <a:cubicBezTo>
                    <a:pt x="22" y="186"/>
                    <a:pt x="17" y="181"/>
                    <a:pt x="11" y="181"/>
                  </a:cubicBezTo>
                  <a:cubicBezTo>
                    <a:pt x="5" y="181"/>
                    <a:pt x="0" y="186"/>
                    <a:pt x="0" y="192"/>
                  </a:cubicBezTo>
                  <a:cubicBezTo>
                    <a:pt x="0" y="213"/>
                    <a:pt x="0" y="213"/>
                    <a:pt x="0" y="213"/>
                  </a:cubicBezTo>
                  <a:cubicBezTo>
                    <a:pt x="0" y="217"/>
                    <a:pt x="2" y="221"/>
                    <a:pt x="6" y="223"/>
                  </a:cubicBezTo>
                  <a:cubicBezTo>
                    <a:pt x="25" y="233"/>
                    <a:pt x="25" y="233"/>
                    <a:pt x="25" y="233"/>
                  </a:cubicBezTo>
                  <a:cubicBezTo>
                    <a:pt x="26" y="234"/>
                    <a:pt x="28" y="234"/>
                    <a:pt x="30" y="234"/>
                  </a:cubicBezTo>
                  <a:cubicBezTo>
                    <a:pt x="34" y="234"/>
                    <a:pt x="37" y="232"/>
                    <a:pt x="39" y="229"/>
                  </a:cubicBezTo>
                  <a:cubicBezTo>
                    <a:pt x="42" y="223"/>
                    <a:pt x="40" y="217"/>
                    <a:pt x="35" y="214"/>
                  </a:cubicBezTo>
                  <a:close/>
                  <a:moveTo>
                    <a:pt x="102" y="250"/>
                  </a:moveTo>
                  <a:cubicBezTo>
                    <a:pt x="69" y="232"/>
                    <a:pt x="69" y="232"/>
                    <a:pt x="69" y="232"/>
                  </a:cubicBezTo>
                  <a:cubicBezTo>
                    <a:pt x="63" y="229"/>
                    <a:pt x="57" y="231"/>
                    <a:pt x="54" y="237"/>
                  </a:cubicBezTo>
                  <a:cubicBezTo>
                    <a:pt x="51" y="242"/>
                    <a:pt x="53" y="248"/>
                    <a:pt x="58" y="251"/>
                  </a:cubicBezTo>
                  <a:cubicBezTo>
                    <a:pt x="92" y="269"/>
                    <a:pt x="92" y="269"/>
                    <a:pt x="92" y="269"/>
                  </a:cubicBezTo>
                  <a:cubicBezTo>
                    <a:pt x="94" y="270"/>
                    <a:pt x="95" y="270"/>
                    <a:pt x="97" y="270"/>
                  </a:cubicBezTo>
                  <a:cubicBezTo>
                    <a:pt x="101" y="270"/>
                    <a:pt x="105" y="268"/>
                    <a:pt x="107" y="265"/>
                  </a:cubicBezTo>
                  <a:cubicBezTo>
                    <a:pt x="109" y="260"/>
                    <a:pt x="107" y="253"/>
                    <a:pt x="102" y="250"/>
                  </a:cubicBezTo>
                  <a:close/>
                  <a:moveTo>
                    <a:pt x="150" y="245"/>
                  </a:moveTo>
                  <a:cubicBezTo>
                    <a:pt x="156" y="245"/>
                    <a:pt x="160" y="241"/>
                    <a:pt x="160" y="235"/>
                  </a:cubicBezTo>
                  <a:cubicBezTo>
                    <a:pt x="160" y="203"/>
                    <a:pt x="160" y="203"/>
                    <a:pt x="160" y="203"/>
                  </a:cubicBezTo>
                  <a:cubicBezTo>
                    <a:pt x="160" y="197"/>
                    <a:pt x="156" y="192"/>
                    <a:pt x="150" y="192"/>
                  </a:cubicBezTo>
                  <a:cubicBezTo>
                    <a:pt x="144" y="192"/>
                    <a:pt x="139" y="197"/>
                    <a:pt x="139" y="203"/>
                  </a:cubicBezTo>
                  <a:cubicBezTo>
                    <a:pt x="139" y="235"/>
                    <a:pt x="139" y="235"/>
                    <a:pt x="139" y="235"/>
                  </a:cubicBezTo>
                  <a:cubicBezTo>
                    <a:pt x="139" y="241"/>
                    <a:pt x="144" y="245"/>
                    <a:pt x="150" y="245"/>
                  </a:cubicBezTo>
                  <a:close/>
                  <a:moveTo>
                    <a:pt x="165" y="269"/>
                  </a:moveTo>
                  <a:cubicBezTo>
                    <a:pt x="160" y="271"/>
                    <a:pt x="160" y="271"/>
                    <a:pt x="160" y="271"/>
                  </a:cubicBezTo>
                  <a:cubicBezTo>
                    <a:pt x="160" y="267"/>
                    <a:pt x="160" y="267"/>
                    <a:pt x="160" y="267"/>
                  </a:cubicBezTo>
                  <a:cubicBezTo>
                    <a:pt x="160" y="261"/>
                    <a:pt x="156" y="256"/>
                    <a:pt x="150" y="256"/>
                  </a:cubicBezTo>
                  <a:cubicBezTo>
                    <a:pt x="144" y="256"/>
                    <a:pt x="139" y="261"/>
                    <a:pt x="139" y="267"/>
                  </a:cubicBezTo>
                  <a:cubicBezTo>
                    <a:pt x="139" y="270"/>
                    <a:pt x="139" y="270"/>
                    <a:pt x="139" y="270"/>
                  </a:cubicBezTo>
                  <a:cubicBezTo>
                    <a:pt x="136" y="268"/>
                    <a:pt x="136" y="268"/>
                    <a:pt x="136" y="268"/>
                  </a:cubicBezTo>
                  <a:cubicBezTo>
                    <a:pt x="131" y="266"/>
                    <a:pt x="124" y="268"/>
                    <a:pt x="121" y="273"/>
                  </a:cubicBezTo>
                  <a:cubicBezTo>
                    <a:pt x="119" y="278"/>
                    <a:pt x="121" y="284"/>
                    <a:pt x="126" y="287"/>
                  </a:cubicBezTo>
                  <a:cubicBezTo>
                    <a:pt x="145" y="297"/>
                    <a:pt x="145" y="297"/>
                    <a:pt x="145" y="297"/>
                  </a:cubicBezTo>
                  <a:cubicBezTo>
                    <a:pt x="146" y="298"/>
                    <a:pt x="148" y="299"/>
                    <a:pt x="150" y="299"/>
                  </a:cubicBezTo>
                  <a:cubicBezTo>
                    <a:pt x="151" y="299"/>
                    <a:pt x="153" y="298"/>
                    <a:pt x="154" y="298"/>
                  </a:cubicBezTo>
                  <a:cubicBezTo>
                    <a:pt x="154" y="298"/>
                    <a:pt x="154" y="298"/>
                    <a:pt x="154" y="298"/>
                  </a:cubicBezTo>
                  <a:cubicBezTo>
                    <a:pt x="174" y="289"/>
                    <a:pt x="174" y="289"/>
                    <a:pt x="174" y="289"/>
                  </a:cubicBezTo>
                  <a:cubicBezTo>
                    <a:pt x="179" y="286"/>
                    <a:pt x="181" y="280"/>
                    <a:pt x="179" y="275"/>
                  </a:cubicBezTo>
                  <a:cubicBezTo>
                    <a:pt x="176" y="269"/>
                    <a:pt x="170" y="267"/>
                    <a:pt x="165" y="269"/>
                  </a:cubicBezTo>
                  <a:close/>
                  <a:moveTo>
                    <a:pt x="231" y="239"/>
                  </a:moveTo>
                  <a:cubicBezTo>
                    <a:pt x="198" y="254"/>
                    <a:pt x="198" y="254"/>
                    <a:pt x="198" y="254"/>
                  </a:cubicBezTo>
                  <a:cubicBezTo>
                    <a:pt x="193" y="256"/>
                    <a:pt x="190" y="263"/>
                    <a:pt x="193" y="268"/>
                  </a:cubicBezTo>
                  <a:cubicBezTo>
                    <a:pt x="194" y="272"/>
                    <a:pt x="198" y="274"/>
                    <a:pt x="202" y="274"/>
                  </a:cubicBezTo>
                  <a:cubicBezTo>
                    <a:pt x="204" y="274"/>
                    <a:pt x="205" y="274"/>
                    <a:pt x="207" y="273"/>
                  </a:cubicBezTo>
                  <a:cubicBezTo>
                    <a:pt x="240" y="258"/>
                    <a:pt x="240" y="258"/>
                    <a:pt x="240" y="258"/>
                  </a:cubicBezTo>
                  <a:cubicBezTo>
                    <a:pt x="245" y="256"/>
                    <a:pt x="248" y="249"/>
                    <a:pt x="245" y="244"/>
                  </a:cubicBezTo>
                  <a:cubicBezTo>
                    <a:pt x="243" y="238"/>
                    <a:pt x="237" y="236"/>
                    <a:pt x="231" y="239"/>
                  </a:cubicBezTo>
                  <a:close/>
                  <a:moveTo>
                    <a:pt x="288" y="192"/>
                  </a:moveTo>
                  <a:cubicBezTo>
                    <a:pt x="282" y="192"/>
                    <a:pt x="278" y="197"/>
                    <a:pt x="278" y="203"/>
                  </a:cubicBezTo>
                  <a:cubicBezTo>
                    <a:pt x="278" y="217"/>
                    <a:pt x="278" y="217"/>
                    <a:pt x="278" y="217"/>
                  </a:cubicBezTo>
                  <a:cubicBezTo>
                    <a:pt x="264" y="223"/>
                    <a:pt x="264" y="223"/>
                    <a:pt x="264" y="223"/>
                  </a:cubicBezTo>
                  <a:cubicBezTo>
                    <a:pt x="259" y="226"/>
                    <a:pt x="257" y="232"/>
                    <a:pt x="259" y="237"/>
                  </a:cubicBezTo>
                  <a:cubicBezTo>
                    <a:pt x="261" y="241"/>
                    <a:pt x="265" y="244"/>
                    <a:pt x="269" y="244"/>
                  </a:cubicBezTo>
                  <a:cubicBezTo>
                    <a:pt x="270" y="244"/>
                    <a:pt x="272" y="243"/>
                    <a:pt x="273" y="243"/>
                  </a:cubicBezTo>
                  <a:cubicBezTo>
                    <a:pt x="293" y="234"/>
                    <a:pt x="293" y="234"/>
                    <a:pt x="293" y="234"/>
                  </a:cubicBezTo>
                  <a:cubicBezTo>
                    <a:pt x="297" y="232"/>
                    <a:pt x="299" y="228"/>
                    <a:pt x="299" y="224"/>
                  </a:cubicBezTo>
                  <a:cubicBezTo>
                    <a:pt x="299" y="203"/>
                    <a:pt x="299" y="203"/>
                    <a:pt x="299" y="203"/>
                  </a:cubicBezTo>
                  <a:cubicBezTo>
                    <a:pt x="299" y="197"/>
                    <a:pt x="294" y="192"/>
                    <a:pt x="288" y="192"/>
                  </a:cubicBezTo>
                  <a:close/>
                  <a:moveTo>
                    <a:pt x="288" y="128"/>
                  </a:moveTo>
                  <a:cubicBezTo>
                    <a:pt x="282" y="128"/>
                    <a:pt x="278" y="133"/>
                    <a:pt x="278" y="139"/>
                  </a:cubicBezTo>
                  <a:cubicBezTo>
                    <a:pt x="278" y="171"/>
                    <a:pt x="278" y="171"/>
                    <a:pt x="278" y="171"/>
                  </a:cubicBezTo>
                  <a:cubicBezTo>
                    <a:pt x="278" y="177"/>
                    <a:pt x="282" y="181"/>
                    <a:pt x="288" y="181"/>
                  </a:cubicBezTo>
                  <a:cubicBezTo>
                    <a:pt x="294" y="181"/>
                    <a:pt x="299" y="177"/>
                    <a:pt x="299" y="171"/>
                  </a:cubicBezTo>
                  <a:cubicBezTo>
                    <a:pt x="299" y="139"/>
                    <a:pt x="299" y="139"/>
                    <a:pt x="299" y="139"/>
                  </a:cubicBezTo>
                  <a:cubicBezTo>
                    <a:pt x="299" y="133"/>
                    <a:pt x="294" y="128"/>
                    <a:pt x="288" y="128"/>
                  </a:cubicBezTo>
                  <a:close/>
                </a:path>
              </a:pathLst>
            </a:custGeom>
            <a:solidFill>
              <a:srgbClr val="012169"/>
            </a:solid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
        <p:nvSpPr>
          <p:cNvPr id="284" name="Freeform 275">
            <a:extLst>
              <a:ext uri="{FF2B5EF4-FFF2-40B4-BE49-F238E27FC236}">
                <a16:creationId xmlns:a16="http://schemas.microsoft.com/office/drawing/2014/main" id="{DA3DBB34-4477-4E86-B711-74A0071443D4}"/>
              </a:ext>
            </a:extLst>
          </p:cNvPr>
          <p:cNvSpPr>
            <a:spLocks noEditPoints="1"/>
          </p:cNvSpPr>
          <p:nvPr/>
        </p:nvSpPr>
        <p:spPr bwMode="auto">
          <a:xfrm>
            <a:off x="9552823" y="4941016"/>
            <a:ext cx="233179" cy="199713"/>
          </a:xfrm>
          <a:custGeom>
            <a:avLst/>
            <a:gdLst>
              <a:gd name="T0" fmla="*/ 314 w 326"/>
              <a:gd name="T1" fmla="*/ 175 h 278"/>
              <a:gd name="T2" fmla="*/ 291 w 326"/>
              <a:gd name="T3" fmla="*/ 154 h 278"/>
              <a:gd name="T4" fmla="*/ 248 w 326"/>
              <a:gd name="T5" fmla="*/ 44 h 278"/>
              <a:gd name="T6" fmla="*/ 231 w 326"/>
              <a:gd name="T7" fmla="*/ 29 h 278"/>
              <a:gd name="T8" fmla="*/ 195 w 326"/>
              <a:gd name="T9" fmla="*/ 11 h 278"/>
              <a:gd name="T10" fmla="*/ 141 w 326"/>
              <a:gd name="T11" fmla="*/ 0 h 278"/>
              <a:gd name="T12" fmla="*/ 131 w 326"/>
              <a:gd name="T13" fmla="*/ 14 h 278"/>
              <a:gd name="T14" fmla="*/ 83 w 326"/>
              <a:gd name="T15" fmla="*/ 35 h 278"/>
              <a:gd name="T16" fmla="*/ 77 w 326"/>
              <a:gd name="T17" fmla="*/ 50 h 278"/>
              <a:gd name="T18" fmla="*/ 35 w 326"/>
              <a:gd name="T19" fmla="*/ 167 h 278"/>
              <a:gd name="T20" fmla="*/ 4 w 326"/>
              <a:gd name="T21" fmla="*/ 183 h 278"/>
              <a:gd name="T22" fmla="*/ 24 w 326"/>
              <a:gd name="T23" fmla="*/ 262 h 278"/>
              <a:gd name="T24" fmla="*/ 163 w 326"/>
              <a:gd name="T25" fmla="*/ 278 h 278"/>
              <a:gd name="T26" fmla="*/ 301 w 326"/>
              <a:gd name="T27" fmla="*/ 262 h 278"/>
              <a:gd name="T28" fmla="*/ 321 w 326"/>
              <a:gd name="T29" fmla="*/ 183 h 278"/>
              <a:gd name="T30" fmla="*/ 77 w 326"/>
              <a:gd name="T31" fmla="*/ 86 h 278"/>
              <a:gd name="T32" fmla="*/ 88 w 326"/>
              <a:gd name="T33" fmla="*/ 155 h 278"/>
              <a:gd name="T34" fmla="*/ 99 w 326"/>
              <a:gd name="T35" fmla="*/ 51 h 278"/>
              <a:gd name="T36" fmla="*/ 131 w 326"/>
              <a:gd name="T37" fmla="*/ 36 h 278"/>
              <a:gd name="T38" fmla="*/ 124 w 326"/>
              <a:gd name="T39" fmla="*/ 91 h 278"/>
              <a:gd name="T40" fmla="*/ 142 w 326"/>
              <a:gd name="T41" fmla="*/ 102 h 278"/>
              <a:gd name="T42" fmla="*/ 152 w 326"/>
              <a:gd name="T43" fmla="*/ 83 h 278"/>
              <a:gd name="T44" fmla="*/ 152 w 326"/>
              <a:gd name="T45" fmla="*/ 22 h 278"/>
              <a:gd name="T46" fmla="*/ 173 w 326"/>
              <a:gd name="T47" fmla="*/ 22 h 278"/>
              <a:gd name="T48" fmla="*/ 173 w 326"/>
              <a:gd name="T49" fmla="*/ 83 h 278"/>
              <a:gd name="T50" fmla="*/ 184 w 326"/>
              <a:gd name="T51" fmla="*/ 102 h 278"/>
              <a:gd name="T52" fmla="*/ 202 w 326"/>
              <a:gd name="T53" fmla="*/ 91 h 278"/>
              <a:gd name="T54" fmla="*/ 195 w 326"/>
              <a:gd name="T55" fmla="*/ 36 h 278"/>
              <a:gd name="T56" fmla="*/ 227 w 326"/>
              <a:gd name="T57" fmla="*/ 51 h 278"/>
              <a:gd name="T58" fmla="*/ 237 w 326"/>
              <a:gd name="T59" fmla="*/ 155 h 278"/>
              <a:gd name="T60" fmla="*/ 248 w 326"/>
              <a:gd name="T61" fmla="*/ 86 h 278"/>
              <a:gd name="T62" fmla="*/ 269 w 326"/>
              <a:gd name="T63" fmla="*/ 188 h 278"/>
              <a:gd name="T64" fmla="*/ 227 w 326"/>
              <a:gd name="T65" fmla="*/ 182 h 278"/>
              <a:gd name="T66" fmla="*/ 99 w 326"/>
              <a:gd name="T67" fmla="*/ 182 h 278"/>
              <a:gd name="T68" fmla="*/ 56 w 326"/>
              <a:gd name="T69" fmla="*/ 188 h 278"/>
              <a:gd name="T70" fmla="*/ 205 w 326"/>
              <a:gd name="T71" fmla="*/ 182 h 278"/>
              <a:gd name="T72" fmla="*/ 120 w 326"/>
              <a:gd name="T73" fmla="*/ 182 h 278"/>
              <a:gd name="T74" fmla="*/ 205 w 326"/>
              <a:gd name="T75" fmla="*/ 182 h 278"/>
              <a:gd name="T76" fmla="*/ 284 w 326"/>
              <a:gd name="T77" fmla="*/ 249 h 278"/>
              <a:gd name="T78" fmla="*/ 41 w 326"/>
              <a:gd name="T79" fmla="*/ 249 h 278"/>
              <a:gd name="T80" fmla="*/ 24 w 326"/>
              <a:gd name="T81" fmla="*/ 193 h 278"/>
              <a:gd name="T82" fmla="*/ 35 w 326"/>
              <a:gd name="T83" fmla="*/ 192 h 278"/>
              <a:gd name="T84" fmla="*/ 114 w 326"/>
              <a:gd name="T85" fmla="*/ 224 h 278"/>
              <a:gd name="T86" fmla="*/ 115 w 326"/>
              <a:gd name="T87" fmla="*/ 224 h 278"/>
              <a:gd name="T88" fmla="*/ 210 w 326"/>
              <a:gd name="T89" fmla="*/ 224 h 278"/>
              <a:gd name="T90" fmla="*/ 212 w 326"/>
              <a:gd name="T91" fmla="*/ 224 h 278"/>
              <a:gd name="T92" fmla="*/ 291 w 326"/>
              <a:gd name="T93" fmla="*/ 192 h 278"/>
              <a:gd name="T94" fmla="*/ 302 w 326"/>
              <a:gd name="T95" fmla="*/ 193 h 278"/>
              <a:gd name="T96" fmla="*/ 131 w 326"/>
              <a:gd name="T97" fmla="*/ 182 h 278"/>
              <a:gd name="T98" fmla="*/ 195 w 326"/>
              <a:gd name="T99" fmla="*/ 182 h 278"/>
              <a:gd name="T100" fmla="*/ 131 w 326"/>
              <a:gd name="T101" fmla="*/ 182 h 278"/>
              <a:gd name="T102" fmla="*/ 163 w 326"/>
              <a:gd name="T103" fmla="*/ 192 h 278"/>
              <a:gd name="T104" fmla="*/ 163 w 326"/>
              <a:gd name="T105" fmla="*/ 171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6" h="278">
                <a:moveTo>
                  <a:pt x="321" y="183"/>
                </a:moveTo>
                <a:cubicBezTo>
                  <a:pt x="321" y="179"/>
                  <a:pt x="318" y="176"/>
                  <a:pt x="314" y="175"/>
                </a:cubicBezTo>
                <a:cubicBezTo>
                  <a:pt x="291" y="167"/>
                  <a:pt x="291" y="167"/>
                  <a:pt x="291" y="167"/>
                </a:cubicBezTo>
                <a:cubicBezTo>
                  <a:pt x="291" y="154"/>
                  <a:pt x="291" y="154"/>
                  <a:pt x="291" y="154"/>
                </a:cubicBezTo>
                <a:cubicBezTo>
                  <a:pt x="291" y="119"/>
                  <a:pt x="275" y="80"/>
                  <a:pt x="248" y="50"/>
                </a:cubicBezTo>
                <a:cubicBezTo>
                  <a:pt x="248" y="44"/>
                  <a:pt x="248" y="44"/>
                  <a:pt x="248" y="44"/>
                </a:cubicBezTo>
                <a:cubicBezTo>
                  <a:pt x="248" y="40"/>
                  <a:pt x="246" y="37"/>
                  <a:pt x="242" y="35"/>
                </a:cubicBezTo>
                <a:cubicBezTo>
                  <a:pt x="238" y="33"/>
                  <a:pt x="234" y="31"/>
                  <a:pt x="231" y="29"/>
                </a:cubicBezTo>
                <a:cubicBezTo>
                  <a:pt x="219" y="23"/>
                  <a:pt x="209" y="17"/>
                  <a:pt x="195" y="14"/>
                </a:cubicBezTo>
                <a:cubicBezTo>
                  <a:pt x="195" y="11"/>
                  <a:pt x="195" y="11"/>
                  <a:pt x="195" y="11"/>
                </a:cubicBezTo>
                <a:cubicBezTo>
                  <a:pt x="195" y="5"/>
                  <a:pt x="190" y="0"/>
                  <a:pt x="184" y="0"/>
                </a:cubicBezTo>
                <a:cubicBezTo>
                  <a:pt x="141" y="0"/>
                  <a:pt x="141" y="0"/>
                  <a:pt x="141" y="0"/>
                </a:cubicBezTo>
                <a:cubicBezTo>
                  <a:pt x="135" y="0"/>
                  <a:pt x="131" y="5"/>
                  <a:pt x="131" y="11"/>
                </a:cubicBezTo>
                <a:cubicBezTo>
                  <a:pt x="131" y="14"/>
                  <a:pt x="131" y="14"/>
                  <a:pt x="131" y="14"/>
                </a:cubicBezTo>
                <a:cubicBezTo>
                  <a:pt x="117" y="17"/>
                  <a:pt x="107" y="23"/>
                  <a:pt x="94" y="29"/>
                </a:cubicBezTo>
                <a:cubicBezTo>
                  <a:pt x="91" y="31"/>
                  <a:pt x="87" y="33"/>
                  <a:pt x="83" y="35"/>
                </a:cubicBezTo>
                <a:cubicBezTo>
                  <a:pt x="80" y="37"/>
                  <a:pt x="77" y="40"/>
                  <a:pt x="77" y="44"/>
                </a:cubicBezTo>
                <a:cubicBezTo>
                  <a:pt x="77" y="50"/>
                  <a:pt x="77" y="50"/>
                  <a:pt x="77" y="50"/>
                </a:cubicBezTo>
                <a:cubicBezTo>
                  <a:pt x="51" y="80"/>
                  <a:pt x="35" y="119"/>
                  <a:pt x="35" y="154"/>
                </a:cubicBezTo>
                <a:cubicBezTo>
                  <a:pt x="35" y="167"/>
                  <a:pt x="35" y="167"/>
                  <a:pt x="35" y="167"/>
                </a:cubicBezTo>
                <a:cubicBezTo>
                  <a:pt x="11" y="175"/>
                  <a:pt x="11" y="175"/>
                  <a:pt x="11" y="175"/>
                </a:cubicBezTo>
                <a:cubicBezTo>
                  <a:pt x="7" y="176"/>
                  <a:pt x="5" y="179"/>
                  <a:pt x="4" y="183"/>
                </a:cubicBezTo>
                <a:cubicBezTo>
                  <a:pt x="3" y="185"/>
                  <a:pt x="0" y="204"/>
                  <a:pt x="3" y="218"/>
                </a:cubicBezTo>
                <a:cubicBezTo>
                  <a:pt x="7" y="232"/>
                  <a:pt x="22" y="259"/>
                  <a:pt x="24" y="262"/>
                </a:cubicBezTo>
                <a:cubicBezTo>
                  <a:pt x="25" y="263"/>
                  <a:pt x="25" y="263"/>
                  <a:pt x="26" y="264"/>
                </a:cubicBezTo>
                <a:cubicBezTo>
                  <a:pt x="36" y="275"/>
                  <a:pt x="106" y="278"/>
                  <a:pt x="163" y="278"/>
                </a:cubicBezTo>
                <a:cubicBezTo>
                  <a:pt x="219" y="278"/>
                  <a:pt x="289" y="275"/>
                  <a:pt x="300" y="264"/>
                </a:cubicBezTo>
                <a:cubicBezTo>
                  <a:pt x="300" y="263"/>
                  <a:pt x="301" y="263"/>
                  <a:pt x="301" y="262"/>
                </a:cubicBezTo>
                <a:cubicBezTo>
                  <a:pt x="303" y="259"/>
                  <a:pt x="318" y="232"/>
                  <a:pt x="322" y="218"/>
                </a:cubicBezTo>
                <a:cubicBezTo>
                  <a:pt x="326" y="204"/>
                  <a:pt x="322" y="185"/>
                  <a:pt x="321" y="183"/>
                </a:cubicBezTo>
                <a:close/>
                <a:moveTo>
                  <a:pt x="56" y="154"/>
                </a:moveTo>
                <a:cubicBezTo>
                  <a:pt x="56" y="126"/>
                  <a:pt x="67" y="103"/>
                  <a:pt x="77" y="86"/>
                </a:cubicBezTo>
                <a:cubicBezTo>
                  <a:pt x="77" y="144"/>
                  <a:pt x="77" y="144"/>
                  <a:pt x="77" y="144"/>
                </a:cubicBezTo>
                <a:cubicBezTo>
                  <a:pt x="77" y="150"/>
                  <a:pt x="82" y="155"/>
                  <a:pt x="88" y="155"/>
                </a:cubicBezTo>
                <a:cubicBezTo>
                  <a:pt x="94" y="155"/>
                  <a:pt x="99" y="150"/>
                  <a:pt x="99" y="144"/>
                </a:cubicBezTo>
                <a:cubicBezTo>
                  <a:pt x="99" y="51"/>
                  <a:pt x="99" y="51"/>
                  <a:pt x="99" y="51"/>
                </a:cubicBezTo>
                <a:cubicBezTo>
                  <a:pt x="101" y="50"/>
                  <a:pt x="102" y="49"/>
                  <a:pt x="104" y="48"/>
                </a:cubicBezTo>
                <a:cubicBezTo>
                  <a:pt x="114" y="43"/>
                  <a:pt x="122" y="39"/>
                  <a:pt x="131" y="36"/>
                </a:cubicBezTo>
                <a:cubicBezTo>
                  <a:pt x="131" y="80"/>
                  <a:pt x="131" y="80"/>
                  <a:pt x="131" y="80"/>
                </a:cubicBezTo>
                <a:cubicBezTo>
                  <a:pt x="124" y="91"/>
                  <a:pt x="124" y="91"/>
                  <a:pt x="124" y="91"/>
                </a:cubicBezTo>
                <a:cubicBezTo>
                  <a:pt x="121" y="96"/>
                  <a:pt x="122" y="102"/>
                  <a:pt x="127" y="105"/>
                </a:cubicBezTo>
                <a:cubicBezTo>
                  <a:pt x="132" y="108"/>
                  <a:pt x="139" y="107"/>
                  <a:pt x="142" y="102"/>
                </a:cubicBezTo>
                <a:cubicBezTo>
                  <a:pt x="150" y="88"/>
                  <a:pt x="150" y="88"/>
                  <a:pt x="150" y="88"/>
                </a:cubicBezTo>
                <a:cubicBezTo>
                  <a:pt x="151" y="87"/>
                  <a:pt x="152" y="85"/>
                  <a:pt x="152" y="83"/>
                </a:cubicBezTo>
                <a:cubicBezTo>
                  <a:pt x="152" y="23"/>
                  <a:pt x="152" y="23"/>
                  <a:pt x="152" y="23"/>
                </a:cubicBezTo>
                <a:cubicBezTo>
                  <a:pt x="152" y="23"/>
                  <a:pt x="152" y="23"/>
                  <a:pt x="152" y="22"/>
                </a:cubicBezTo>
                <a:cubicBezTo>
                  <a:pt x="152" y="22"/>
                  <a:pt x="152" y="22"/>
                  <a:pt x="152" y="22"/>
                </a:cubicBezTo>
                <a:cubicBezTo>
                  <a:pt x="173" y="22"/>
                  <a:pt x="173" y="22"/>
                  <a:pt x="173" y="22"/>
                </a:cubicBezTo>
                <a:cubicBezTo>
                  <a:pt x="173" y="23"/>
                  <a:pt x="173" y="23"/>
                  <a:pt x="173" y="23"/>
                </a:cubicBezTo>
                <a:cubicBezTo>
                  <a:pt x="173" y="83"/>
                  <a:pt x="173" y="83"/>
                  <a:pt x="173" y="83"/>
                </a:cubicBezTo>
                <a:cubicBezTo>
                  <a:pt x="173" y="85"/>
                  <a:pt x="174" y="87"/>
                  <a:pt x="175" y="88"/>
                </a:cubicBezTo>
                <a:cubicBezTo>
                  <a:pt x="184" y="102"/>
                  <a:pt x="184" y="102"/>
                  <a:pt x="184" y="102"/>
                </a:cubicBezTo>
                <a:cubicBezTo>
                  <a:pt x="187" y="107"/>
                  <a:pt x="193" y="108"/>
                  <a:pt x="198" y="105"/>
                </a:cubicBezTo>
                <a:cubicBezTo>
                  <a:pt x="203" y="102"/>
                  <a:pt x="205" y="96"/>
                  <a:pt x="202" y="91"/>
                </a:cubicBezTo>
                <a:cubicBezTo>
                  <a:pt x="195" y="80"/>
                  <a:pt x="195" y="80"/>
                  <a:pt x="195" y="80"/>
                </a:cubicBezTo>
                <a:cubicBezTo>
                  <a:pt x="195" y="36"/>
                  <a:pt x="195" y="36"/>
                  <a:pt x="195" y="36"/>
                </a:cubicBezTo>
                <a:cubicBezTo>
                  <a:pt x="204" y="39"/>
                  <a:pt x="211" y="43"/>
                  <a:pt x="221" y="48"/>
                </a:cubicBezTo>
                <a:cubicBezTo>
                  <a:pt x="223" y="49"/>
                  <a:pt x="225" y="50"/>
                  <a:pt x="227" y="51"/>
                </a:cubicBezTo>
                <a:cubicBezTo>
                  <a:pt x="227" y="144"/>
                  <a:pt x="227" y="144"/>
                  <a:pt x="227" y="144"/>
                </a:cubicBezTo>
                <a:cubicBezTo>
                  <a:pt x="227" y="150"/>
                  <a:pt x="231" y="155"/>
                  <a:pt x="237" y="155"/>
                </a:cubicBezTo>
                <a:cubicBezTo>
                  <a:pt x="243" y="155"/>
                  <a:pt x="248" y="150"/>
                  <a:pt x="248" y="144"/>
                </a:cubicBezTo>
                <a:cubicBezTo>
                  <a:pt x="248" y="86"/>
                  <a:pt x="248" y="86"/>
                  <a:pt x="248" y="86"/>
                </a:cubicBezTo>
                <a:cubicBezTo>
                  <a:pt x="259" y="103"/>
                  <a:pt x="269" y="126"/>
                  <a:pt x="269" y="154"/>
                </a:cubicBezTo>
                <a:cubicBezTo>
                  <a:pt x="269" y="188"/>
                  <a:pt x="269" y="188"/>
                  <a:pt x="269" y="188"/>
                </a:cubicBezTo>
                <a:cubicBezTo>
                  <a:pt x="265" y="191"/>
                  <a:pt x="252" y="197"/>
                  <a:pt x="224" y="201"/>
                </a:cubicBezTo>
                <a:cubicBezTo>
                  <a:pt x="226" y="195"/>
                  <a:pt x="227" y="189"/>
                  <a:pt x="227" y="182"/>
                </a:cubicBezTo>
                <a:cubicBezTo>
                  <a:pt x="227" y="146"/>
                  <a:pt x="198" y="118"/>
                  <a:pt x="163" y="118"/>
                </a:cubicBezTo>
                <a:cubicBezTo>
                  <a:pt x="127" y="118"/>
                  <a:pt x="99" y="146"/>
                  <a:pt x="99" y="182"/>
                </a:cubicBezTo>
                <a:cubicBezTo>
                  <a:pt x="99" y="189"/>
                  <a:pt x="100" y="195"/>
                  <a:pt x="102" y="201"/>
                </a:cubicBezTo>
                <a:cubicBezTo>
                  <a:pt x="73" y="197"/>
                  <a:pt x="60" y="191"/>
                  <a:pt x="56" y="188"/>
                </a:cubicBezTo>
                <a:lnTo>
                  <a:pt x="56" y="154"/>
                </a:lnTo>
                <a:close/>
                <a:moveTo>
                  <a:pt x="205" y="182"/>
                </a:moveTo>
                <a:cubicBezTo>
                  <a:pt x="205" y="205"/>
                  <a:pt x="186" y="224"/>
                  <a:pt x="163" y="224"/>
                </a:cubicBezTo>
                <a:cubicBezTo>
                  <a:pt x="139" y="224"/>
                  <a:pt x="120" y="205"/>
                  <a:pt x="120" y="182"/>
                </a:cubicBezTo>
                <a:cubicBezTo>
                  <a:pt x="120" y="158"/>
                  <a:pt x="139" y="139"/>
                  <a:pt x="163" y="139"/>
                </a:cubicBezTo>
                <a:cubicBezTo>
                  <a:pt x="186" y="139"/>
                  <a:pt x="205" y="158"/>
                  <a:pt x="205" y="182"/>
                </a:cubicBezTo>
                <a:close/>
                <a:moveTo>
                  <a:pt x="301" y="213"/>
                </a:moveTo>
                <a:cubicBezTo>
                  <a:pt x="299" y="221"/>
                  <a:pt x="289" y="239"/>
                  <a:pt x="284" y="249"/>
                </a:cubicBezTo>
                <a:cubicBezTo>
                  <a:pt x="278" y="251"/>
                  <a:pt x="252" y="256"/>
                  <a:pt x="163" y="256"/>
                </a:cubicBezTo>
                <a:cubicBezTo>
                  <a:pt x="74" y="256"/>
                  <a:pt x="47" y="251"/>
                  <a:pt x="41" y="249"/>
                </a:cubicBezTo>
                <a:cubicBezTo>
                  <a:pt x="36" y="239"/>
                  <a:pt x="26" y="221"/>
                  <a:pt x="24" y="213"/>
                </a:cubicBezTo>
                <a:cubicBezTo>
                  <a:pt x="23" y="207"/>
                  <a:pt x="23" y="199"/>
                  <a:pt x="24" y="193"/>
                </a:cubicBezTo>
                <a:cubicBezTo>
                  <a:pt x="35" y="190"/>
                  <a:pt x="35" y="190"/>
                  <a:pt x="35" y="190"/>
                </a:cubicBezTo>
                <a:cubicBezTo>
                  <a:pt x="35" y="192"/>
                  <a:pt x="35" y="192"/>
                  <a:pt x="35" y="192"/>
                </a:cubicBezTo>
                <a:cubicBezTo>
                  <a:pt x="35" y="195"/>
                  <a:pt x="35" y="197"/>
                  <a:pt x="37" y="198"/>
                </a:cubicBezTo>
                <a:cubicBezTo>
                  <a:pt x="39" y="202"/>
                  <a:pt x="53" y="218"/>
                  <a:pt x="114" y="224"/>
                </a:cubicBezTo>
                <a:cubicBezTo>
                  <a:pt x="114" y="224"/>
                  <a:pt x="115" y="224"/>
                  <a:pt x="115" y="224"/>
                </a:cubicBezTo>
                <a:cubicBezTo>
                  <a:pt x="115" y="224"/>
                  <a:pt x="115" y="224"/>
                  <a:pt x="115" y="224"/>
                </a:cubicBezTo>
                <a:cubicBezTo>
                  <a:pt x="127" y="237"/>
                  <a:pt x="144" y="246"/>
                  <a:pt x="163" y="246"/>
                </a:cubicBezTo>
                <a:cubicBezTo>
                  <a:pt x="182" y="246"/>
                  <a:pt x="199" y="237"/>
                  <a:pt x="210" y="224"/>
                </a:cubicBezTo>
                <a:cubicBezTo>
                  <a:pt x="210" y="224"/>
                  <a:pt x="210" y="224"/>
                  <a:pt x="210" y="224"/>
                </a:cubicBezTo>
                <a:cubicBezTo>
                  <a:pt x="211" y="224"/>
                  <a:pt x="211" y="224"/>
                  <a:pt x="212" y="224"/>
                </a:cubicBezTo>
                <a:cubicBezTo>
                  <a:pt x="272" y="218"/>
                  <a:pt x="286" y="202"/>
                  <a:pt x="289" y="198"/>
                </a:cubicBezTo>
                <a:cubicBezTo>
                  <a:pt x="290" y="197"/>
                  <a:pt x="291" y="195"/>
                  <a:pt x="291" y="192"/>
                </a:cubicBezTo>
                <a:cubicBezTo>
                  <a:pt x="291" y="190"/>
                  <a:pt x="291" y="190"/>
                  <a:pt x="291" y="190"/>
                </a:cubicBezTo>
                <a:cubicBezTo>
                  <a:pt x="302" y="193"/>
                  <a:pt x="302" y="193"/>
                  <a:pt x="302" y="193"/>
                </a:cubicBezTo>
                <a:cubicBezTo>
                  <a:pt x="302" y="199"/>
                  <a:pt x="303" y="207"/>
                  <a:pt x="301" y="213"/>
                </a:cubicBezTo>
                <a:close/>
                <a:moveTo>
                  <a:pt x="131" y="182"/>
                </a:moveTo>
                <a:cubicBezTo>
                  <a:pt x="131" y="199"/>
                  <a:pt x="145" y="214"/>
                  <a:pt x="163" y="214"/>
                </a:cubicBezTo>
                <a:cubicBezTo>
                  <a:pt x="180" y="214"/>
                  <a:pt x="195" y="199"/>
                  <a:pt x="195" y="182"/>
                </a:cubicBezTo>
                <a:cubicBezTo>
                  <a:pt x="195" y="164"/>
                  <a:pt x="180" y="150"/>
                  <a:pt x="163" y="150"/>
                </a:cubicBezTo>
                <a:cubicBezTo>
                  <a:pt x="145" y="150"/>
                  <a:pt x="131" y="164"/>
                  <a:pt x="131" y="182"/>
                </a:cubicBezTo>
                <a:close/>
                <a:moveTo>
                  <a:pt x="173" y="182"/>
                </a:moveTo>
                <a:cubicBezTo>
                  <a:pt x="173" y="188"/>
                  <a:pt x="169" y="192"/>
                  <a:pt x="163" y="192"/>
                </a:cubicBezTo>
                <a:cubicBezTo>
                  <a:pt x="157" y="192"/>
                  <a:pt x="152" y="188"/>
                  <a:pt x="152" y="182"/>
                </a:cubicBezTo>
                <a:cubicBezTo>
                  <a:pt x="152" y="176"/>
                  <a:pt x="157" y="171"/>
                  <a:pt x="163" y="171"/>
                </a:cubicBezTo>
                <a:cubicBezTo>
                  <a:pt x="169" y="171"/>
                  <a:pt x="173" y="176"/>
                  <a:pt x="173" y="182"/>
                </a:cubicBezTo>
                <a:close/>
              </a:path>
            </a:pathLst>
          </a:custGeom>
          <a:solidFill>
            <a:srgbClr val="00B0F0"/>
          </a:solid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5" name="Freeform 913">
            <a:extLst>
              <a:ext uri="{FF2B5EF4-FFF2-40B4-BE49-F238E27FC236}">
                <a16:creationId xmlns:a16="http://schemas.microsoft.com/office/drawing/2014/main" id="{580084BC-138E-4EA3-ACAC-E20ECA3AEAD9}"/>
              </a:ext>
            </a:extLst>
          </p:cNvPr>
          <p:cNvSpPr>
            <a:spLocks noChangeAspect="1" noEditPoints="1"/>
          </p:cNvSpPr>
          <p:nvPr/>
        </p:nvSpPr>
        <p:spPr bwMode="auto">
          <a:xfrm>
            <a:off x="11060041" y="4930112"/>
            <a:ext cx="67755" cy="252000"/>
          </a:xfrm>
          <a:custGeom>
            <a:avLst/>
            <a:gdLst>
              <a:gd name="T0" fmla="*/ 43 w 85"/>
              <a:gd name="T1" fmla="*/ 0 h 320"/>
              <a:gd name="T2" fmla="*/ 0 w 85"/>
              <a:gd name="T3" fmla="*/ 42 h 320"/>
              <a:gd name="T4" fmla="*/ 0 w 85"/>
              <a:gd name="T5" fmla="*/ 160 h 320"/>
              <a:gd name="T6" fmla="*/ 11 w 85"/>
              <a:gd name="T7" fmla="*/ 170 h 320"/>
              <a:gd name="T8" fmla="*/ 32 w 85"/>
              <a:gd name="T9" fmla="*/ 170 h 320"/>
              <a:gd name="T10" fmla="*/ 32 w 85"/>
              <a:gd name="T11" fmla="*/ 277 h 320"/>
              <a:gd name="T12" fmla="*/ 23 w 85"/>
              <a:gd name="T13" fmla="*/ 282 h 320"/>
              <a:gd name="T14" fmla="*/ 22 w 85"/>
              <a:gd name="T15" fmla="*/ 292 h 320"/>
              <a:gd name="T16" fmla="*/ 33 w 85"/>
              <a:gd name="T17" fmla="*/ 314 h 320"/>
              <a:gd name="T18" fmla="*/ 43 w 85"/>
              <a:gd name="T19" fmla="*/ 320 h 320"/>
              <a:gd name="T20" fmla="*/ 52 w 85"/>
              <a:gd name="T21" fmla="*/ 314 h 320"/>
              <a:gd name="T22" fmla="*/ 63 w 85"/>
              <a:gd name="T23" fmla="*/ 292 h 320"/>
              <a:gd name="T24" fmla="*/ 62 w 85"/>
              <a:gd name="T25" fmla="*/ 282 h 320"/>
              <a:gd name="T26" fmla="*/ 53 w 85"/>
              <a:gd name="T27" fmla="*/ 277 h 320"/>
              <a:gd name="T28" fmla="*/ 53 w 85"/>
              <a:gd name="T29" fmla="*/ 170 h 320"/>
              <a:gd name="T30" fmla="*/ 75 w 85"/>
              <a:gd name="T31" fmla="*/ 170 h 320"/>
              <a:gd name="T32" fmla="*/ 85 w 85"/>
              <a:gd name="T33" fmla="*/ 160 h 320"/>
              <a:gd name="T34" fmla="*/ 85 w 85"/>
              <a:gd name="T35" fmla="*/ 42 h 320"/>
              <a:gd name="T36" fmla="*/ 43 w 85"/>
              <a:gd name="T37" fmla="*/ 0 h 320"/>
              <a:gd name="T38" fmla="*/ 64 w 85"/>
              <a:gd name="T39" fmla="*/ 149 h 320"/>
              <a:gd name="T40" fmla="*/ 21 w 85"/>
              <a:gd name="T41" fmla="*/ 149 h 320"/>
              <a:gd name="T42" fmla="*/ 21 w 85"/>
              <a:gd name="T43" fmla="*/ 42 h 320"/>
              <a:gd name="T44" fmla="*/ 43 w 85"/>
              <a:gd name="T45" fmla="*/ 21 h 320"/>
              <a:gd name="T46" fmla="*/ 64 w 85"/>
              <a:gd name="T47" fmla="*/ 42 h 320"/>
              <a:gd name="T48" fmla="*/ 64 w 85"/>
              <a:gd name="T49" fmla="*/ 14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5" h="320">
                <a:moveTo>
                  <a:pt x="43" y="0"/>
                </a:moveTo>
                <a:cubicBezTo>
                  <a:pt x="19" y="0"/>
                  <a:pt x="0" y="19"/>
                  <a:pt x="0" y="42"/>
                </a:cubicBezTo>
                <a:cubicBezTo>
                  <a:pt x="0" y="160"/>
                  <a:pt x="0" y="160"/>
                  <a:pt x="0" y="160"/>
                </a:cubicBezTo>
                <a:cubicBezTo>
                  <a:pt x="0" y="166"/>
                  <a:pt x="5" y="170"/>
                  <a:pt x="11" y="170"/>
                </a:cubicBezTo>
                <a:cubicBezTo>
                  <a:pt x="32" y="170"/>
                  <a:pt x="32" y="170"/>
                  <a:pt x="32" y="170"/>
                </a:cubicBezTo>
                <a:cubicBezTo>
                  <a:pt x="32" y="277"/>
                  <a:pt x="32" y="277"/>
                  <a:pt x="32" y="277"/>
                </a:cubicBezTo>
                <a:cubicBezTo>
                  <a:pt x="28" y="277"/>
                  <a:pt x="25" y="279"/>
                  <a:pt x="23" y="282"/>
                </a:cubicBezTo>
                <a:cubicBezTo>
                  <a:pt x="21" y="285"/>
                  <a:pt x="21" y="289"/>
                  <a:pt x="22" y="292"/>
                </a:cubicBezTo>
                <a:cubicBezTo>
                  <a:pt x="33" y="314"/>
                  <a:pt x="33" y="314"/>
                  <a:pt x="33" y="314"/>
                </a:cubicBezTo>
                <a:cubicBezTo>
                  <a:pt x="35" y="317"/>
                  <a:pt x="39" y="320"/>
                  <a:pt x="43" y="320"/>
                </a:cubicBezTo>
                <a:cubicBezTo>
                  <a:pt x="47" y="320"/>
                  <a:pt x="50" y="317"/>
                  <a:pt x="52" y="314"/>
                </a:cubicBezTo>
                <a:cubicBezTo>
                  <a:pt x="63" y="292"/>
                  <a:pt x="63" y="292"/>
                  <a:pt x="63" y="292"/>
                </a:cubicBezTo>
                <a:cubicBezTo>
                  <a:pt x="65" y="289"/>
                  <a:pt x="64" y="285"/>
                  <a:pt x="62" y="282"/>
                </a:cubicBezTo>
                <a:cubicBezTo>
                  <a:pt x="60" y="279"/>
                  <a:pt x="57" y="277"/>
                  <a:pt x="53" y="277"/>
                </a:cubicBezTo>
                <a:cubicBezTo>
                  <a:pt x="53" y="170"/>
                  <a:pt x="53" y="170"/>
                  <a:pt x="53" y="170"/>
                </a:cubicBezTo>
                <a:cubicBezTo>
                  <a:pt x="75" y="170"/>
                  <a:pt x="75" y="170"/>
                  <a:pt x="75" y="170"/>
                </a:cubicBezTo>
                <a:cubicBezTo>
                  <a:pt x="81" y="170"/>
                  <a:pt x="85" y="166"/>
                  <a:pt x="85" y="160"/>
                </a:cubicBezTo>
                <a:cubicBezTo>
                  <a:pt x="85" y="42"/>
                  <a:pt x="85" y="42"/>
                  <a:pt x="85" y="42"/>
                </a:cubicBezTo>
                <a:cubicBezTo>
                  <a:pt x="85" y="19"/>
                  <a:pt x="66" y="0"/>
                  <a:pt x="43" y="0"/>
                </a:cubicBezTo>
                <a:close/>
                <a:moveTo>
                  <a:pt x="64" y="149"/>
                </a:moveTo>
                <a:cubicBezTo>
                  <a:pt x="21" y="149"/>
                  <a:pt x="21" y="149"/>
                  <a:pt x="21" y="149"/>
                </a:cubicBezTo>
                <a:cubicBezTo>
                  <a:pt x="21" y="42"/>
                  <a:pt x="21" y="42"/>
                  <a:pt x="21" y="42"/>
                </a:cubicBezTo>
                <a:cubicBezTo>
                  <a:pt x="21" y="31"/>
                  <a:pt x="31" y="21"/>
                  <a:pt x="43" y="21"/>
                </a:cubicBezTo>
                <a:cubicBezTo>
                  <a:pt x="54" y="21"/>
                  <a:pt x="64" y="31"/>
                  <a:pt x="64" y="42"/>
                </a:cubicBezTo>
                <a:lnTo>
                  <a:pt x="64" y="149"/>
                </a:lnTo>
                <a:close/>
              </a:path>
            </a:pathLst>
          </a:custGeom>
          <a:solidFill>
            <a:srgbClr val="6FC2B4"/>
          </a:solidFill>
          <a:ln>
            <a:noFill/>
          </a:ln>
          <a:extLst>
            <a:ext uri="{91240B29-F687-4f45-9708-019B960494DF}">
              <a14:hiddenLine xmlns="" xmlns:a14="http://schemas.microsoft.com/office/drawing/2010/main" xmlns:p14="http://schemas.microsoft.com/office/powerpoint/2010/main" xmlns:a16="http://schemas.microsoft.com/office/drawing/2014/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286" name="Rectangle 285">
            <a:extLst>
              <a:ext uri="{FF2B5EF4-FFF2-40B4-BE49-F238E27FC236}">
                <a16:creationId xmlns:a16="http://schemas.microsoft.com/office/drawing/2014/main" id="{18E90559-4A5A-4F4F-BCE4-4FBD54A9F831}"/>
              </a:ext>
            </a:extLst>
          </p:cNvPr>
          <p:cNvSpPr/>
          <p:nvPr/>
        </p:nvSpPr>
        <p:spPr bwMode="gray">
          <a:xfrm>
            <a:off x="501651" y="5526558"/>
            <a:ext cx="1156751" cy="561936"/>
          </a:xfrm>
          <a:prstGeom prst="rect">
            <a:avLst/>
          </a:prstGeom>
          <a:noFill/>
          <a:ln w="19050" algn="ctr">
            <a:noFill/>
            <a:miter lim="800000"/>
            <a:headEnd/>
            <a:tailEnd/>
          </a:ln>
        </p:spPr>
        <p:txBody>
          <a:bodyPr wrap="square" lIns="88900" tIns="88900" rIns="88900" bIns="88900" rtlCol="0" anchor="ctr"/>
          <a:lstStyle/>
          <a:p>
            <a:pPr algn="ctr">
              <a:buFont typeface="Wingdings 2" pitchFamily="18" charset="2"/>
              <a:buNone/>
            </a:pPr>
            <a:r>
              <a:rPr lang="en-GB" sz="1200" b="1">
                <a:solidFill>
                  <a:schemeClr val="tx2">
                    <a:lumMod val="75000"/>
                  </a:schemeClr>
                </a:solidFill>
              </a:rPr>
              <a:t>Business/ ancillary services</a:t>
            </a:r>
            <a:endParaRPr lang="en-GB" sz="1200" b="1" dirty="0">
              <a:solidFill>
                <a:schemeClr val="tx2">
                  <a:lumMod val="75000"/>
                </a:schemeClr>
              </a:solidFill>
            </a:endParaRPr>
          </a:p>
        </p:txBody>
      </p:sp>
      <p:sp>
        <p:nvSpPr>
          <p:cNvPr id="287" name="Rectangle 286">
            <a:extLst>
              <a:ext uri="{FF2B5EF4-FFF2-40B4-BE49-F238E27FC236}">
                <a16:creationId xmlns:a16="http://schemas.microsoft.com/office/drawing/2014/main" id="{F46A0117-CC1C-4E56-B59C-61A5BDFA3A05}"/>
              </a:ext>
            </a:extLst>
          </p:cNvPr>
          <p:cNvSpPr/>
          <p:nvPr/>
        </p:nvSpPr>
        <p:spPr bwMode="gray">
          <a:xfrm>
            <a:off x="1899571" y="5526558"/>
            <a:ext cx="1156751" cy="561936"/>
          </a:xfrm>
          <a:prstGeom prst="rect">
            <a:avLst/>
          </a:prstGeom>
          <a:noFill/>
          <a:ln w="19050" algn="ctr">
            <a:noFill/>
            <a:miter lim="800000"/>
            <a:headEnd/>
            <a:tailEnd/>
          </a:ln>
        </p:spPr>
        <p:txBody>
          <a:bodyPr wrap="square" lIns="88900" tIns="88900" rIns="88900" bIns="88900" rtlCol="0" anchor="ctr"/>
          <a:lstStyle/>
          <a:p>
            <a:pPr algn="ctr">
              <a:buFont typeface="Wingdings 2" pitchFamily="18" charset="2"/>
              <a:buNone/>
            </a:pPr>
            <a:r>
              <a:rPr lang="en-GB" sz="1200" b="1">
                <a:solidFill>
                  <a:schemeClr val="tx2">
                    <a:lumMod val="75000"/>
                  </a:schemeClr>
                </a:solidFill>
              </a:rPr>
              <a:t>Construction Worker</a:t>
            </a:r>
            <a:endParaRPr lang="en-GB" sz="1200" b="1" dirty="0">
              <a:solidFill>
                <a:schemeClr val="tx2">
                  <a:lumMod val="75000"/>
                </a:schemeClr>
              </a:solidFill>
            </a:endParaRPr>
          </a:p>
        </p:txBody>
      </p:sp>
      <p:sp>
        <p:nvSpPr>
          <p:cNvPr id="288" name="Rectangle 287">
            <a:extLst>
              <a:ext uri="{FF2B5EF4-FFF2-40B4-BE49-F238E27FC236}">
                <a16:creationId xmlns:a16="http://schemas.microsoft.com/office/drawing/2014/main" id="{CB7C1662-FF2E-42D2-9BC2-1D6CBE0BD1EC}"/>
              </a:ext>
            </a:extLst>
          </p:cNvPr>
          <p:cNvSpPr/>
          <p:nvPr/>
        </p:nvSpPr>
        <p:spPr bwMode="gray">
          <a:xfrm>
            <a:off x="3337967" y="5526558"/>
            <a:ext cx="1156751" cy="561936"/>
          </a:xfrm>
          <a:prstGeom prst="rect">
            <a:avLst/>
          </a:prstGeom>
          <a:noFill/>
          <a:ln w="19050" algn="ctr">
            <a:noFill/>
            <a:miter lim="800000"/>
            <a:headEnd/>
            <a:tailEnd/>
          </a:ln>
        </p:spPr>
        <p:txBody>
          <a:bodyPr wrap="square" lIns="88900" tIns="88900" rIns="88900" bIns="88900" rtlCol="0" anchor="ctr"/>
          <a:lstStyle/>
          <a:p>
            <a:pPr algn="ctr">
              <a:buFont typeface="Wingdings 2" pitchFamily="18" charset="2"/>
              <a:buNone/>
            </a:pPr>
            <a:r>
              <a:rPr lang="en-GB" sz="1200" b="1">
                <a:solidFill>
                  <a:schemeClr val="tx2">
                    <a:lumMod val="75000"/>
                  </a:schemeClr>
                </a:solidFill>
              </a:rPr>
              <a:t>Engineer</a:t>
            </a:r>
            <a:endParaRPr lang="en-GB" sz="1200" b="1" dirty="0">
              <a:solidFill>
                <a:schemeClr val="tx2">
                  <a:lumMod val="75000"/>
                </a:schemeClr>
              </a:solidFill>
            </a:endParaRPr>
          </a:p>
        </p:txBody>
      </p:sp>
      <p:sp>
        <p:nvSpPr>
          <p:cNvPr id="289" name="Rectangle 288">
            <a:extLst>
              <a:ext uri="{FF2B5EF4-FFF2-40B4-BE49-F238E27FC236}">
                <a16:creationId xmlns:a16="http://schemas.microsoft.com/office/drawing/2014/main" id="{5124078D-2859-4353-89FC-B2E2D46DC92C}"/>
              </a:ext>
            </a:extLst>
          </p:cNvPr>
          <p:cNvSpPr/>
          <p:nvPr/>
        </p:nvSpPr>
        <p:spPr bwMode="gray">
          <a:xfrm>
            <a:off x="4790391" y="5526558"/>
            <a:ext cx="1156751" cy="561936"/>
          </a:xfrm>
          <a:prstGeom prst="rect">
            <a:avLst/>
          </a:prstGeom>
          <a:noFill/>
          <a:ln w="19050" algn="ctr">
            <a:noFill/>
            <a:miter lim="800000"/>
            <a:headEnd/>
            <a:tailEnd/>
          </a:ln>
        </p:spPr>
        <p:txBody>
          <a:bodyPr wrap="square" lIns="88900" tIns="88900" rIns="88900" bIns="88900" rtlCol="0" anchor="ctr"/>
          <a:lstStyle/>
          <a:p>
            <a:pPr algn="ctr">
              <a:buFont typeface="Wingdings 2" pitchFamily="18" charset="2"/>
              <a:buNone/>
            </a:pPr>
            <a:r>
              <a:rPr lang="en-GB" sz="1200" b="1">
                <a:solidFill>
                  <a:schemeClr val="tx2">
                    <a:lumMod val="75000"/>
                  </a:schemeClr>
                </a:solidFill>
              </a:rPr>
              <a:t>Mana Whenua / Iwi Engagement</a:t>
            </a:r>
            <a:endParaRPr lang="en-GB" sz="1200" b="1" dirty="0">
              <a:solidFill>
                <a:schemeClr val="tx2">
                  <a:lumMod val="75000"/>
                </a:schemeClr>
              </a:solidFill>
            </a:endParaRPr>
          </a:p>
        </p:txBody>
      </p:sp>
      <p:sp>
        <p:nvSpPr>
          <p:cNvPr id="290" name="Rectangle 289">
            <a:extLst>
              <a:ext uri="{FF2B5EF4-FFF2-40B4-BE49-F238E27FC236}">
                <a16:creationId xmlns:a16="http://schemas.microsoft.com/office/drawing/2014/main" id="{8450A180-271D-47AE-9069-44ACD275A575}"/>
              </a:ext>
            </a:extLst>
          </p:cNvPr>
          <p:cNvSpPr/>
          <p:nvPr/>
        </p:nvSpPr>
        <p:spPr bwMode="gray">
          <a:xfrm>
            <a:off x="6242815" y="5526558"/>
            <a:ext cx="1156751" cy="561936"/>
          </a:xfrm>
          <a:prstGeom prst="rect">
            <a:avLst/>
          </a:prstGeom>
          <a:noFill/>
          <a:ln w="19050" algn="ctr">
            <a:noFill/>
            <a:miter lim="800000"/>
            <a:headEnd/>
            <a:tailEnd/>
          </a:ln>
        </p:spPr>
        <p:txBody>
          <a:bodyPr wrap="square" lIns="88900" tIns="88900" rIns="88900" bIns="88900" rtlCol="0" anchor="ctr"/>
          <a:lstStyle/>
          <a:p>
            <a:pPr algn="ctr">
              <a:buFont typeface="Wingdings 2" pitchFamily="18" charset="2"/>
              <a:buNone/>
            </a:pPr>
            <a:r>
              <a:rPr lang="en-GB" sz="1200" b="1">
                <a:solidFill>
                  <a:schemeClr val="tx2">
                    <a:lumMod val="75000"/>
                  </a:schemeClr>
                </a:solidFill>
              </a:rPr>
              <a:t>Project Manager</a:t>
            </a:r>
            <a:endParaRPr lang="en-GB" sz="1200" b="1" dirty="0">
              <a:solidFill>
                <a:schemeClr val="tx2">
                  <a:lumMod val="75000"/>
                </a:schemeClr>
              </a:solidFill>
            </a:endParaRPr>
          </a:p>
        </p:txBody>
      </p:sp>
      <p:sp>
        <p:nvSpPr>
          <p:cNvPr id="291" name="Rectangle 290">
            <a:extLst>
              <a:ext uri="{FF2B5EF4-FFF2-40B4-BE49-F238E27FC236}">
                <a16:creationId xmlns:a16="http://schemas.microsoft.com/office/drawing/2014/main" id="{75DF7F5A-9466-475E-8A5D-34A1EDD888D0}"/>
              </a:ext>
            </a:extLst>
          </p:cNvPr>
          <p:cNvSpPr/>
          <p:nvPr/>
        </p:nvSpPr>
        <p:spPr bwMode="gray">
          <a:xfrm>
            <a:off x="7639538" y="5502791"/>
            <a:ext cx="1156751" cy="561936"/>
          </a:xfrm>
          <a:prstGeom prst="rect">
            <a:avLst/>
          </a:prstGeom>
          <a:noFill/>
          <a:ln w="19050" algn="ctr">
            <a:noFill/>
            <a:miter lim="800000"/>
            <a:headEnd/>
            <a:tailEnd/>
          </a:ln>
        </p:spPr>
        <p:txBody>
          <a:bodyPr wrap="square" lIns="88900" tIns="88900" rIns="88900" bIns="88900" rtlCol="0" anchor="ctr"/>
          <a:lstStyle/>
          <a:p>
            <a:pPr algn="ctr">
              <a:buFont typeface="Wingdings 2" pitchFamily="18" charset="2"/>
              <a:buNone/>
            </a:pPr>
            <a:r>
              <a:rPr lang="en-GB" sz="1200" b="1">
                <a:solidFill>
                  <a:schemeClr val="tx2">
                    <a:lumMod val="75000"/>
                  </a:schemeClr>
                </a:solidFill>
              </a:rPr>
              <a:t>Senior Engineer</a:t>
            </a:r>
            <a:endParaRPr lang="en-GB" sz="1200" b="1" dirty="0">
              <a:solidFill>
                <a:schemeClr val="tx2">
                  <a:lumMod val="75000"/>
                </a:schemeClr>
              </a:solidFill>
            </a:endParaRPr>
          </a:p>
        </p:txBody>
      </p:sp>
      <p:sp>
        <p:nvSpPr>
          <p:cNvPr id="292" name="Rectangle 291">
            <a:extLst>
              <a:ext uri="{FF2B5EF4-FFF2-40B4-BE49-F238E27FC236}">
                <a16:creationId xmlns:a16="http://schemas.microsoft.com/office/drawing/2014/main" id="{7D9E3567-D95F-4273-BCF0-C42CD28DC106}"/>
              </a:ext>
            </a:extLst>
          </p:cNvPr>
          <p:cNvSpPr/>
          <p:nvPr/>
        </p:nvSpPr>
        <p:spPr bwMode="gray">
          <a:xfrm>
            <a:off x="9084253" y="5526558"/>
            <a:ext cx="1156751" cy="561936"/>
          </a:xfrm>
          <a:prstGeom prst="rect">
            <a:avLst/>
          </a:prstGeom>
          <a:noFill/>
          <a:ln w="19050" algn="ctr">
            <a:noFill/>
            <a:miter lim="800000"/>
            <a:headEnd/>
            <a:tailEnd/>
          </a:ln>
        </p:spPr>
        <p:txBody>
          <a:bodyPr wrap="square" lIns="88900" tIns="88900" rIns="88900" bIns="88900" rtlCol="0" anchor="ctr"/>
          <a:lstStyle/>
          <a:p>
            <a:pPr algn="ctr">
              <a:buFont typeface="Wingdings 2" pitchFamily="18" charset="2"/>
              <a:buNone/>
            </a:pPr>
            <a:r>
              <a:rPr lang="en-GB" sz="1200" b="1">
                <a:solidFill>
                  <a:schemeClr val="tx2">
                    <a:lumMod val="75000"/>
                  </a:schemeClr>
                </a:solidFill>
              </a:rPr>
              <a:t>Team Leader</a:t>
            </a:r>
            <a:endParaRPr lang="en-GB" sz="1200" b="1" dirty="0">
              <a:solidFill>
                <a:schemeClr val="tx2">
                  <a:lumMod val="75000"/>
                </a:schemeClr>
              </a:solidFill>
            </a:endParaRPr>
          </a:p>
        </p:txBody>
      </p:sp>
      <p:sp>
        <p:nvSpPr>
          <p:cNvPr id="293" name="Rectangle 292">
            <a:extLst>
              <a:ext uri="{FF2B5EF4-FFF2-40B4-BE49-F238E27FC236}">
                <a16:creationId xmlns:a16="http://schemas.microsoft.com/office/drawing/2014/main" id="{D5DB4D86-28C7-434E-9EC8-98750B7F9E03}"/>
              </a:ext>
            </a:extLst>
          </p:cNvPr>
          <p:cNvSpPr/>
          <p:nvPr/>
        </p:nvSpPr>
        <p:spPr bwMode="gray">
          <a:xfrm>
            <a:off x="10511921" y="5526558"/>
            <a:ext cx="1156751" cy="561936"/>
          </a:xfrm>
          <a:prstGeom prst="rect">
            <a:avLst/>
          </a:prstGeom>
          <a:noFill/>
          <a:ln w="19050" algn="ctr">
            <a:noFill/>
            <a:miter lim="800000"/>
            <a:headEnd/>
            <a:tailEnd/>
          </a:ln>
        </p:spPr>
        <p:txBody>
          <a:bodyPr wrap="square" lIns="88900" tIns="88900" rIns="88900" bIns="88900" rtlCol="0" anchor="ctr"/>
          <a:lstStyle/>
          <a:p>
            <a:pPr algn="ctr">
              <a:buFont typeface="Wingdings 2" pitchFamily="18" charset="2"/>
              <a:buNone/>
            </a:pPr>
            <a:r>
              <a:rPr lang="en-GB" sz="1200" b="1">
                <a:solidFill>
                  <a:schemeClr val="tx2">
                    <a:lumMod val="75000"/>
                  </a:schemeClr>
                </a:solidFill>
              </a:rPr>
              <a:t>Technicians</a:t>
            </a:r>
            <a:endParaRPr lang="en-GB" sz="1200" b="1" dirty="0">
              <a:solidFill>
                <a:schemeClr val="tx2">
                  <a:lumMod val="75000"/>
                </a:schemeClr>
              </a:solidFill>
            </a:endParaRPr>
          </a:p>
        </p:txBody>
      </p:sp>
      <p:cxnSp>
        <p:nvCxnSpPr>
          <p:cNvPr id="294" name="Connector: Elbow 293">
            <a:extLst>
              <a:ext uri="{FF2B5EF4-FFF2-40B4-BE49-F238E27FC236}">
                <a16:creationId xmlns:a16="http://schemas.microsoft.com/office/drawing/2014/main" id="{91420DB5-2707-4317-B32A-CC6AAF49BA08}"/>
              </a:ext>
            </a:extLst>
          </p:cNvPr>
          <p:cNvCxnSpPr>
            <a:stCxn id="159" idx="2"/>
            <a:endCxn id="221" idx="0"/>
          </p:cNvCxnSpPr>
          <p:nvPr/>
        </p:nvCxnSpPr>
        <p:spPr>
          <a:xfrm rot="16200000" flipH="1">
            <a:off x="248355" y="3907546"/>
            <a:ext cx="1204871" cy="448233"/>
          </a:xfrm>
          <a:prstGeom prst="bentConnector3">
            <a:avLst/>
          </a:prstGeom>
          <a:ln w="12700">
            <a:solidFill>
              <a:srgbClr val="1D670A"/>
            </a:solidFill>
            <a:tailEnd type="triangle"/>
          </a:ln>
        </p:spPr>
        <p:style>
          <a:lnRef idx="1">
            <a:schemeClr val="accent1"/>
          </a:lnRef>
          <a:fillRef idx="0">
            <a:schemeClr val="accent1"/>
          </a:fillRef>
          <a:effectRef idx="0">
            <a:schemeClr val="accent1"/>
          </a:effectRef>
          <a:fontRef idx="minor">
            <a:schemeClr val="tx1"/>
          </a:fontRef>
        </p:style>
      </p:cxnSp>
      <p:cxnSp>
        <p:nvCxnSpPr>
          <p:cNvPr id="295" name="Connector: Elbow 294">
            <a:extLst>
              <a:ext uri="{FF2B5EF4-FFF2-40B4-BE49-F238E27FC236}">
                <a16:creationId xmlns:a16="http://schemas.microsoft.com/office/drawing/2014/main" id="{A93A62B6-6EB1-4C28-A9C7-4C717067A1FF}"/>
              </a:ext>
            </a:extLst>
          </p:cNvPr>
          <p:cNvCxnSpPr>
            <a:cxnSpLocks/>
            <a:stCxn id="160" idx="2"/>
            <a:endCxn id="221" idx="0"/>
          </p:cNvCxnSpPr>
          <p:nvPr/>
        </p:nvCxnSpPr>
        <p:spPr>
          <a:xfrm rot="16200000" flipH="1">
            <a:off x="385012" y="4044203"/>
            <a:ext cx="1204871" cy="174920"/>
          </a:xfrm>
          <a:prstGeom prst="bentConnector3">
            <a:avLst/>
          </a:prstGeom>
          <a:ln w="12700">
            <a:solidFill>
              <a:srgbClr val="1D670A"/>
            </a:solidFill>
            <a:tailEnd type="triangle"/>
          </a:ln>
        </p:spPr>
        <p:style>
          <a:lnRef idx="1">
            <a:schemeClr val="accent1"/>
          </a:lnRef>
          <a:fillRef idx="0">
            <a:schemeClr val="accent1"/>
          </a:fillRef>
          <a:effectRef idx="0">
            <a:schemeClr val="accent1"/>
          </a:effectRef>
          <a:fontRef idx="minor">
            <a:schemeClr val="tx1"/>
          </a:fontRef>
        </p:style>
      </p:cxnSp>
      <p:cxnSp>
        <p:nvCxnSpPr>
          <p:cNvPr id="296" name="Connector: Elbow 295">
            <a:extLst>
              <a:ext uri="{FF2B5EF4-FFF2-40B4-BE49-F238E27FC236}">
                <a16:creationId xmlns:a16="http://schemas.microsoft.com/office/drawing/2014/main" id="{0705EABE-F54B-4EFF-B213-7DD67B57FCE7}"/>
              </a:ext>
            </a:extLst>
          </p:cNvPr>
          <p:cNvCxnSpPr>
            <a:cxnSpLocks/>
            <a:stCxn id="162" idx="2"/>
            <a:endCxn id="221" idx="0"/>
          </p:cNvCxnSpPr>
          <p:nvPr/>
        </p:nvCxnSpPr>
        <p:spPr>
          <a:xfrm rot="5400000">
            <a:off x="521669" y="4082467"/>
            <a:ext cx="1204871" cy="98393"/>
          </a:xfrm>
          <a:prstGeom prst="bentConnector3">
            <a:avLst/>
          </a:prstGeom>
          <a:ln w="12700">
            <a:solidFill>
              <a:srgbClr val="1D670A"/>
            </a:solidFill>
            <a:tailEnd type="triangle"/>
          </a:ln>
        </p:spPr>
        <p:style>
          <a:lnRef idx="1">
            <a:schemeClr val="accent1"/>
          </a:lnRef>
          <a:fillRef idx="0">
            <a:schemeClr val="accent1"/>
          </a:fillRef>
          <a:effectRef idx="0">
            <a:schemeClr val="accent1"/>
          </a:effectRef>
          <a:fontRef idx="minor">
            <a:schemeClr val="tx1"/>
          </a:fontRef>
        </p:style>
      </p:cxnSp>
      <p:cxnSp>
        <p:nvCxnSpPr>
          <p:cNvPr id="297" name="Connector: Elbow 296">
            <a:extLst>
              <a:ext uri="{FF2B5EF4-FFF2-40B4-BE49-F238E27FC236}">
                <a16:creationId xmlns:a16="http://schemas.microsoft.com/office/drawing/2014/main" id="{F292DA5D-F451-4EBB-B36E-AA633DD44CB2}"/>
              </a:ext>
            </a:extLst>
          </p:cNvPr>
          <p:cNvCxnSpPr>
            <a:cxnSpLocks/>
            <a:stCxn id="163" idx="2"/>
            <a:endCxn id="230" idx="0"/>
          </p:cNvCxnSpPr>
          <p:nvPr/>
        </p:nvCxnSpPr>
        <p:spPr>
          <a:xfrm rot="16200000" flipH="1">
            <a:off x="1212331" y="3440236"/>
            <a:ext cx="1528144" cy="1059581"/>
          </a:xfrm>
          <a:prstGeom prst="bentConnector3">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cxnSp>
        <p:nvCxnSpPr>
          <p:cNvPr id="298" name="Connector: Elbow 297">
            <a:extLst>
              <a:ext uri="{FF2B5EF4-FFF2-40B4-BE49-F238E27FC236}">
                <a16:creationId xmlns:a16="http://schemas.microsoft.com/office/drawing/2014/main" id="{13EFACE7-1694-4026-8DB3-BD46D05B1B1D}"/>
              </a:ext>
            </a:extLst>
          </p:cNvPr>
          <p:cNvCxnSpPr>
            <a:cxnSpLocks/>
            <a:stCxn id="165" idx="2"/>
            <a:endCxn id="230" idx="0"/>
          </p:cNvCxnSpPr>
          <p:nvPr/>
        </p:nvCxnSpPr>
        <p:spPr>
          <a:xfrm rot="16200000" flipH="1">
            <a:off x="1348988" y="3576893"/>
            <a:ext cx="1528144" cy="786268"/>
          </a:xfrm>
          <a:prstGeom prst="bentConnector3">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cxnSp>
        <p:nvCxnSpPr>
          <p:cNvPr id="299" name="Connector: Elbow 298">
            <a:extLst>
              <a:ext uri="{FF2B5EF4-FFF2-40B4-BE49-F238E27FC236}">
                <a16:creationId xmlns:a16="http://schemas.microsoft.com/office/drawing/2014/main" id="{1F9C198C-B649-40C8-8925-33CC4965DB4B}"/>
              </a:ext>
            </a:extLst>
          </p:cNvPr>
          <p:cNvCxnSpPr>
            <a:cxnSpLocks/>
            <a:stCxn id="166" idx="2"/>
            <a:endCxn id="230" idx="0"/>
          </p:cNvCxnSpPr>
          <p:nvPr/>
        </p:nvCxnSpPr>
        <p:spPr>
          <a:xfrm rot="16200000" flipH="1">
            <a:off x="1485644" y="3713549"/>
            <a:ext cx="1528144" cy="512955"/>
          </a:xfrm>
          <a:prstGeom prst="bentConnector3">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cxnSp>
        <p:nvCxnSpPr>
          <p:cNvPr id="300" name="Connector: Elbow 299">
            <a:extLst>
              <a:ext uri="{FF2B5EF4-FFF2-40B4-BE49-F238E27FC236}">
                <a16:creationId xmlns:a16="http://schemas.microsoft.com/office/drawing/2014/main" id="{1BEC7552-49FB-4DD4-9FC9-26FDAAA17EF6}"/>
              </a:ext>
            </a:extLst>
          </p:cNvPr>
          <p:cNvCxnSpPr>
            <a:cxnSpLocks/>
            <a:stCxn id="168" idx="2"/>
            <a:endCxn id="230" idx="0"/>
          </p:cNvCxnSpPr>
          <p:nvPr/>
        </p:nvCxnSpPr>
        <p:spPr>
          <a:xfrm rot="16200000" flipH="1">
            <a:off x="1622301" y="3850206"/>
            <a:ext cx="1528144" cy="239642"/>
          </a:xfrm>
          <a:prstGeom prst="bentConnector3">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cxnSp>
        <p:nvCxnSpPr>
          <p:cNvPr id="301" name="Connector: Elbow 300">
            <a:extLst>
              <a:ext uri="{FF2B5EF4-FFF2-40B4-BE49-F238E27FC236}">
                <a16:creationId xmlns:a16="http://schemas.microsoft.com/office/drawing/2014/main" id="{224BD4BF-C73F-4B86-86C8-FAFA5F70CCE6}"/>
              </a:ext>
            </a:extLst>
          </p:cNvPr>
          <p:cNvCxnSpPr>
            <a:cxnSpLocks/>
            <a:stCxn id="169" idx="2"/>
            <a:endCxn id="230" idx="0"/>
          </p:cNvCxnSpPr>
          <p:nvPr/>
        </p:nvCxnSpPr>
        <p:spPr>
          <a:xfrm rot="5400000">
            <a:off x="1758958" y="3953192"/>
            <a:ext cx="1528144" cy="33671"/>
          </a:xfrm>
          <a:prstGeom prst="bentConnector3">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cxnSp>
        <p:nvCxnSpPr>
          <p:cNvPr id="302" name="Connector: Elbow 301">
            <a:extLst>
              <a:ext uri="{FF2B5EF4-FFF2-40B4-BE49-F238E27FC236}">
                <a16:creationId xmlns:a16="http://schemas.microsoft.com/office/drawing/2014/main" id="{E8740BD9-C1AC-4066-AB44-1BFB8FAE39AE}"/>
              </a:ext>
            </a:extLst>
          </p:cNvPr>
          <p:cNvCxnSpPr>
            <a:cxnSpLocks/>
            <a:stCxn id="171" idx="2"/>
            <a:endCxn id="230" idx="0"/>
          </p:cNvCxnSpPr>
          <p:nvPr/>
        </p:nvCxnSpPr>
        <p:spPr>
          <a:xfrm rot="5400000">
            <a:off x="1895614" y="3816535"/>
            <a:ext cx="1528144" cy="306984"/>
          </a:xfrm>
          <a:prstGeom prst="bentConnector3">
            <a:avLst>
              <a:gd name="adj1" fmla="val 50000"/>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cxnSp>
        <p:nvCxnSpPr>
          <p:cNvPr id="303" name="Connector: Elbow 302">
            <a:extLst>
              <a:ext uri="{FF2B5EF4-FFF2-40B4-BE49-F238E27FC236}">
                <a16:creationId xmlns:a16="http://schemas.microsoft.com/office/drawing/2014/main" id="{F8295BA8-3909-4C5B-8346-DF0D41DC1DD3}"/>
              </a:ext>
            </a:extLst>
          </p:cNvPr>
          <p:cNvCxnSpPr>
            <a:cxnSpLocks/>
            <a:stCxn id="172" idx="2"/>
            <a:endCxn id="230" idx="0"/>
          </p:cNvCxnSpPr>
          <p:nvPr/>
        </p:nvCxnSpPr>
        <p:spPr>
          <a:xfrm rot="5400000">
            <a:off x="2032271" y="3679879"/>
            <a:ext cx="1528144" cy="580297"/>
          </a:xfrm>
          <a:prstGeom prst="bentConnector3">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cxnSp>
        <p:nvCxnSpPr>
          <p:cNvPr id="304" name="Connector: Elbow 303">
            <a:extLst>
              <a:ext uri="{FF2B5EF4-FFF2-40B4-BE49-F238E27FC236}">
                <a16:creationId xmlns:a16="http://schemas.microsoft.com/office/drawing/2014/main" id="{92A6BDD7-DECA-42BF-B9C7-B818198092F4}"/>
              </a:ext>
            </a:extLst>
          </p:cNvPr>
          <p:cNvCxnSpPr>
            <a:cxnSpLocks/>
            <a:stCxn id="173" idx="2"/>
            <a:endCxn id="230" idx="0"/>
          </p:cNvCxnSpPr>
          <p:nvPr/>
        </p:nvCxnSpPr>
        <p:spPr>
          <a:xfrm rot="5400000">
            <a:off x="2168927" y="3543222"/>
            <a:ext cx="1528144" cy="853610"/>
          </a:xfrm>
          <a:prstGeom prst="bentConnector3">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cxnSp>
        <p:nvCxnSpPr>
          <p:cNvPr id="305" name="Connector: Elbow 304">
            <a:extLst>
              <a:ext uri="{FF2B5EF4-FFF2-40B4-BE49-F238E27FC236}">
                <a16:creationId xmlns:a16="http://schemas.microsoft.com/office/drawing/2014/main" id="{3C56886B-C65D-4457-942E-D291C4743C1A}"/>
              </a:ext>
            </a:extLst>
          </p:cNvPr>
          <p:cNvCxnSpPr>
            <a:cxnSpLocks/>
            <a:stCxn id="175" idx="2"/>
            <a:endCxn id="230" idx="0"/>
          </p:cNvCxnSpPr>
          <p:nvPr/>
        </p:nvCxnSpPr>
        <p:spPr>
          <a:xfrm rot="5400000">
            <a:off x="2305584" y="3406566"/>
            <a:ext cx="1528144" cy="1126923"/>
          </a:xfrm>
          <a:prstGeom prst="bentConnector3">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cxnSp>
        <p:nvCxnSpPr>
          <p:cNvPr id="306" name="Connector: Elbow 305">
            <a:extLst>
              <a:ext uri="{FF2B5EF4-FFF2-40B4-BE49-F238E27FC236}">
                <a16:creationId xmlns:a16="http://schemas.microsoft.com/office/drawing/2014/main" id="{AD6CEEF7-9FEC-41E9-89B9-DB3B5A076DB2}"/>
              </a:ext>
            </a:extLst>
          </p:cNvPr>
          <p:cNvCxnSpPr>
            <a:cxnSpLocks/>
            <a:stCxn id="176" idx="2"/>
            <a:endCxn id="230" idx="0"/>
          </p:cNvCxnSpPr>
          <p:nvPr/>
        </p:nvCxnSpPr>
        <p:spPr>
          <a:xfrm rot="5400000">
            <a:off x="2442240" y="3269909"/>
            <a:ext cx="1528144" cy="1400236"/>
          </a:xfrm>
          <a:prstGeom prst="bentConnector3">
            <a:avLst/>
          </a:prstGeom>
          <a:ln w="12700">
            <a:solidFill>
              <a:srgbClr val="43B02A"/>
            </a:solidFill>
            <a:tailEnd type="triangle"/>
          </a:ln>
        </p:spPr>
        <p:style>
          <a:lnRef idx="1">
            <a:schemeClr val="accent1"/>
          </a:lnRef>
          <a:fillRef idx="0">
            <a:schemeClr val="accent1"/>
          </a:fillRef>
          <a:effectRef idx="0">
            <a:schemeClr val="accent1"/>
          </a:effectRef>
          <a:fontRef idx="minor">
            <a:schemeClr val="tx1"/>
          </a:fontRef>
        </p:style>
      </p:cxnSp>
      <p:cxnSp>
        <p:nvCxnSpPr>
          <p:cNvPr id="307" name="Connector: Elbow 306">
            <a:extLst>
              <a:ext uri="{FF2B5EF4-FFF2-40B4-BE49-F238E27FC236}">
                <a16:creationId xmlns:a16="http://schemas.microsoft.com/office/drawing/2014/main" id="{E8890A0A-7A64-46DD-B77E-46AE99352B6D}"/>
              </a:ext>
            </a:extLst>
          </p:cNvPr>
          <p:cNvCxnSpPr>
            <a:cxnSpLocks/>
            <a:stCxn id="178" idx="2"/>
            <a:endCxn id="237" idx="0"/>
          </p:cNvCxnSpPr>
          <p:nvPr/>
        </p:nvCxnSpPr>
        <p:spPr>
          <a:xfrm rot="5400000">
            <a:off x="3456177" y="4010532"/>
            <a:ext cx="1204871" cy="242262"/>
          </a:xfrm>
          <a:prstGeom prst="bentConnector3">
            <a:avLst/>
          </a:prstGeom>
          <a:ln w="1270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308" name="Connector: Elbow 307">
            <a:extLst>
              <a:ext uri="{FF2B5EF4-FFF2-40B4-BE49-F238E27FC236}">
                <a16:creationId xmlns:a16="http://schemas.microsoft.com/office/drawing/2014/main" id="{C841284D-1E44-4E58-B023-348D763E01E9}"/>
              </a:ext>
            </a:extLst>
          </p:cNvPr>
          <p:cNvCxnSpPr>
            <a:cxnSpLocks/>
            <a:stCxn id="179" idx="2"/>
            <a:endCxn id="237" idx="0"/>
          </p:cNvCxnSpPr>
          <p:nvPr/>
        </p:nvCxnSpPr>
        <p:spPr>
          <a:xfrm rot="5400000">
            <a:off x="3592834" y="3873876"/>
            <a:ext cx="1204871" cy="515575"/>
          </a:xfrm>
          <a:prstGeom prst="bentConnector3">
            <a:avLst/>
          </a:prstGeom>
          <a:ln w="1270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309" name="Connector: Elbow 308">
            <a:extLst>
              <a:ext uri="{FF2B5EF4-FFF2-40B4-BE49-F238E27FC236}">
                <a16:creationId xmlns:a16="http://schemas.microsoft.com/office/drawing/2014/main" id="{2BDEFCEE-5924-49B5-83E8-50DA8F7FE138}"/>
              </a:ext>
            </a:extLst>
          </p:cNvPr>
          <p:cNvCxnSpPr>
            <a:cxnSpLocks/>
            <a:stCxn id="184" idx="2"/>
            <a:endCxn id="245" idx="0"/>
          </p:cNvCxnSpPr>
          <p:nvPr/>
        </p:nvCxnSpPr>
        <p:spPr>
          <a:xfrm rot="16200000" flipH="1">
            <a:off x="4556809" y="3922140"/>
            <a:ext cx="1528144" cy="95773"/>
          </a:xfrm>
          <a:prstGeom prst="bentConnector3">
            <a:avLst/>
          </a:prstGeom>
          <a:ln w="12700">
            <a:solidFill>
              <a:srgbClr val="ED8B00"/>
            </a:solidFill>
            <a:tailEnd type="triangle"/>
          </a:ln>
        </p:spPr>
        <p:style>
          <a:lnRef idx="1">
            <a:schemeClr val="accent1"/>
          </a:lnRef>
          <a:fillRef idx="0">
            <a:schemeClr val="accent1"/>
          </a:fillRef>
          <a:effectRef idx="0">
            <a:schemeClr val="accent1"/>
          </a:effectRef>
          <a:fontRef idx="minor">
            <a:schemeClr val="tx1"/>
          </a:fontRef>
        </p:style>
      </p:cxnSp>
      <p:cxnSp>
        <p:nvCxnSpPr>
          <p:cNvPr id="310" name="Connector: Elbow 309">
            <a:extLst>
              <a:ext uri="{FF2B5EF4-FFF2-40B4-BE49-F238E27FC236}">
                <a16:creationId xmlns:a16="http://schemas.microsoft.com/office/drawing/2014/main" id="{64A2B4AE-F1FD-463E-B090-E2105D99222B}"/>
              </a:ext>
            </a:extLst>
          </p:cNvPr>
          <p:cNvCxnSpPr>
            <a:cxnSpLocks/>
            <a:stCxn id="181" idx="2"/>
            <a:endCxn id="237" idx="0"/>
          </p:cNvCxnSpPr>
          <p:nvPr/>
        </p:nvCxnSpPr>
        <p:spPr>
          <a:xfrm rot="5400000">
            <a:off x="3729490" y="3737219"/>
            <a:ext cx="1204871" cy="788888"/>
          </a:xfrm>
          <a:prstGeom prst="bentConnector3">
            <a:avLst/>
          </a:prstGeom>
          <a:ln w="1270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311" name="Connector: Elbow 310">
            <a:extLst>
              <a:ext uri="{FF2B5EF4-FFF2-40B4-BE49-F238E27FC236}">
                <a16:creationId xmlns:a16="http://schemas.microsoft.com/office/drawing/2014/main" id="{00ED29D9-1A2C-4F09-9A1D-A588F8ABC082}"/>
              </a:ext>
            </a:extLst>
          </p:cNvPr>
          <p:cNvCxnSpPr>
            <a:cxnSpLocks/>
            <a:stCxn id="182" idx="2"/>
            <a:endCxn id="237" idx="0"/>
          </p:cNvCxnSpPr>
          <p:nvPr/>
        </p:nvCxnSpPr>
        <p:spPr>
          <a:xfrm rot="5400000">
            <a:off x="3866147" y="3600563"/>
            <a:ext cx="1204871" cy="1062201"/>
          </a:xfrm>
          <a:prstGeom prst="bentConnector3">
            <a:avLst/>
          </a:prstGeom>
          <a:ln w="12700">
            <a:solidFill>
              <a:srgbClr val="53565A"/>
            </a:solidFill>
            <a:tailEnd type="triangle"/>
          </a:ln>
        </p:spPr>
        <p:style>
          <a:lnRef idx="1">
            <a:schemeClr val="accent1"/>
          </a:lnRef>
          <a:fillRef idx="0">
            <a:schemeClr val="accent1"/>
          </a:fillRef>
          <a:effectRef idx="0">
            <a:schemeClr val="accent1"/>
          </a:effectRef>
          <a:fontRef idx="minor">
            <a:schemeClr val="tx1"/>
          </a:fontRef>
        </p:style>
      </p:cxnSp>
      <p:cxnSp>
        <p:nvCxnSpPr>
          <p:cNvPr id="312" name="Connector: Elbow 311">
            <a:extLst>
              <a:ext uri="{FF2B5EF4-FFF2-40B4-BE49-F238E27FC236}">
                <a16:creationId xmlns:a16="http://schemas.microsoft.com/office/drawing/2014/main" id="{FA0C020F-F5DC-47FD-8FE9-299F3EB52932}"/>
              </a:ext>
            </a:extLst>
          </p:cNvPr>
          <p:cNvCxnSpPr>
            <a:cxnSpLocks/>
            <a:stCxn id="185" idx="2"/>
            <a:endCxn id="252" idx="0"/>
          </p:cNvCxnSpPr>
          <p:nvPr/>
        </p:nvCxnSpPr>
        <p:spPr>
          <a:xfrm rot="16200000" flipH="1">
            <a:off x="5570746" y="3504789"/>
            <a:ext cx="1204871" cy="1253747"/>
          </a:xfrm>
          <a:prstGeom prst="bentConnector3">
            <a:avLst/>
          </a:prstGeom>
          <a:ln w="12700">
            <a:solidFill>
              <a:srgbClr val="007680"/>
            </a:solidFill>
            <a:tailEnd type="triangle"/>
          </a:ln>
        </p:spPr>
        <p:style>
          <a:lnRef idx="1">
            <a:schemeClr val="accent1"/>
          </a:lnRef>
          <a:fillRef idx="0">
            <a:schemeClr val="accent1"/>
          </a:fillRef>
          <a:effectRef idx="0">
            <a:schemeClr val="accent1"/>
          </a:effectRef>
          <a:fontRef idx="minor">
            <a:schemeClr val="tx1"/>
          </a:fontRef>
        </p:style>
      </p:cxnSp>
      <p:cxnSp>
        <p:nvCxnSpPr>
          <p:cNvPr id="313" name="Connector: Elbow 312">
            <a:extLst>
              <a:ext uri="{FF2B5EF4-FFF2-40B4-BE49-F238E27FC236}">
                <a16:creationId xmlns:a16="http://schemas.microsoft.com/office/drawing/2014/main" id="{FF126B8A-0F4C-4CCE-8964-F474093D29BE}"/>
              </a:ext>
            </a:extLst>
          </p:cNvPr>
          <p:cNvCxnSpPr>
            <a:cxnSpLocks/>
            <a:stCxn id="186" idx="2"/>
            <a:endCxn id="252" idx="0"/>
          </p:cNvCxnSpPr>
          <p:nvPr/>
        </p:nvCxnSpPr>
        <p:spPr>
          <a:xfrm rot="16200000" flipH="1">
            <a:off x="5707403" y="3641446"/>
            <a:ext cx="1204871" cy="980434"/>
          </a:xfrm>
          <a:prstGeom prst="bentConnector3">
            <a:avLst/>
          </a:prstGeom>
          <a:ln w="12700">
            <a:solidFill>
              <a:srgbClr val="007680"/>
            </a:solidFill>
            <a:tailEnd type="triangle"/>
          </a:ln>
        </p:spPr>
        <p:style>
          <a:lnRef idx="1">
            <a:schemeClr val="accent1"/>
          </a:lnRef>
          <a:fillRef idx="0">
            <a:schemeClr val="accent1"/>
          </a:fillRef>
          <a:effectRef idx="0">
            <a:schemeClr val="accent1"/>
          </a:effectRef>
          <a:fontRef idx="minor">
            <a:schemeClr val="tx1"/>
          </a:fontRef>
        </p:style>
      </p:cxnSp>
      <p:cxnSp>
        <p:nvCxnSpPr>
          <p:cNvPr id="314" name="Connector: Elbow 313">
            <a:extLst>
              <a:ext uri="{FF2B5EF4-FFF2-40B4-BE49-F238E27FC236}">
                <a16:creationId xmlns:a16="http://schemas.microsoft.com/office/drawing/2014/main" id="{E79AB601-4870-4A35-B16D-77405AE8191C}"/>
              </a:ext>
            </a:extLst>
          </p:cNvPr>
          <p:cNvCxnSpPr>
            <a:cxnSpLocks/>
            <a:stCxn id="188" idx="2"/>
            <a:endCxn id="252" idx="0"/>
          </p:cNvCxnSpPr>
          <p:nvPr/>
        </p:nvCxnSpPr>
        <p:spPr>
          <a:xfrm rot="16200000" flipH="1">
            <a:off x="5844059" y="3778102"/>
            <a:ext cx="1204871" cy="707121"/>
          </a:xfrm>
          <a:prstGeom prst="bentConnector3">
            <a:avLst/>
          </a:prstGeom>
          <a:ln w="12700">
            <a:solidFill>
              <a:srgbClr val="007680"/>
            </a:solidFill>
            <a:tailEnd type="triangle"/>
          </a:ln>
        </p:spPr>
        <p:style>
          <a:lnRef idx="1">
            <a:schemeClr val="accent1"/>
          </a:lnRef>
          <a:fillRef idx="0">
            <a:schemeClr val="accent1"/>
          </a:fillRef>
          <a:effectRef idx="0">
            <a:schemeClr val="accent1"/>
          </a:effectRef>
          <a:fontRef idx="minor">
            <a:schemeClr val="tx1"/>
          </a:fontRef>
        </p:style>
      </p:cxnSp>
      <p:cxnSp>
        <p:nvCxnSpPr>
          <p:cNvPr id="315" name="Connector: Elbow 314">
            <a:extLst>
              <a:ext uri="{FF2B5EF4-FFF2-40B4-BE49-F238E27FC236}">
                <a16:creationId xmlns:a16="http://schemas.microsoft.com/office/drawing/2014/main" id="{DFE7FC67-5F1A-42A0-82F6-F84D98D2FE24}"/>
              </a:ext>
            </a:extLst>
          </p:cNvPr>
          <p:cNvCxnSpPr>
            <a:cxnSpLocks/>
            <a:stCxn id="189" idx="2"/>
            <a:endCxn id="252" idx="0"/>
          </p:cNvCxnSpPr>
          <p:nvPr/>
        </p:nvCxnSpPr>
        <p:spPr>
          <a:xfrm rot="16200000" flipH="1">
            <a:off x="5980716" y="3914759"/>
            <a:ext cx="1204871" cy="433808"/>
          </a:xfrm>
          <a:prstGeom prst="bentConnector3">
            <a:avLst/>
          </a:prstGeom>
          <a:ln w="12700">
            <a:solidFill>
              <a:srgbClr val="007680"/>
            </a:solidFill>
            <a:tailEnd type="triangle"/>
          </a:ln>
        </p:spPr>
        <p:style>
          <a:lnRef idx="1">
            <a:schemeClr val="accent1"/>
          </a:lnRef>
          <a:fillRef idx="0">
            <a:schemeClr val="accent1"/>
          </a:fillRef>
          <a:effectRef idx="0">
            <a:schemeClr val="accent1"/>
          </a:effectRef>
          <a:fontRef idx="minor">
            <a:schemeClr val="tx1"/>
          </a:fontRef>
        </p:style>
      </p:cxnSp>
      <p:cxnSp>
        <p:nvCxnSpPr>
          <p:cNvPr id="316" name="Connector: Elbow 315">
            <a:extLst>
              <a:ext uri="{FF2B5EF4-FFF2-40B4-BE49-F238E27FC236}">
                <a16:creationId xmlns:a16="http://schemas.microsoft.com/office/drawing/2014/main" id="{4A604ECF-D954-49CA-8142-414D8E5A1F3E}"/>
              </a:ext>
            </a:extLst>
          </p:cNvPr>
          <p:cNvCxnSpPr>
            <a:cxnSpLocks/>
            <a:stCxn id="191" idx="2"/>
            <a:endCxn id="252" idx="0"/>
          </p:cNvCxnSpPr>
          <p:nvPr/>
        </p:nvCxnSpPr>
        <p:spPr>
          <a:xfrm rot="16200000" flipH="1">
            <a:off x="6117372" y="4051415"/>
            <a:ext cx="1204871" cy="160495"/>
          </a:xfrm>
          <a:prstGeom prst="bentConnector3">
            <a:avLst>
              <a:gd name="adj1" fmla="val 50000"/>
            </a:avLst>
          </a:prstGeom>
          <a:ln w="12700">
            <a:solidFill>
              <a:srgbClr val="007680"/>
            </a:solidFill>
            <a:tailEnd type="triangle"/>
          </a:ln>
        </p:spPr>
        <p:style>
          <a:lnRef idx="1">
            <a:schemeClr val="accent1"/>
          </a:lnRef>
          <a:fillRef idx="0">
            <a:schemeClr val="accent1"/>
          </a:fillRef>
          <a:effectRef idx="0">
            <a:schemeClr val="accent1"/>
          </a:effectRef>
          <a:fontRef idx="minor">
            <a:schemeClr val="tx1"/>
          </a:fontRef>
        </p:style>
      </p:cxnSp>
      <p:cxnSp>
        <p:nvCxnSpPr>
          <p:cNvPr id="317" name="Connector: Elbow 316">
            <a:extLst>
              <a:ext uri="{FF2B5EF4-FFF2-40B4-BE49-F238E27FC236}">
                <a16:creationId xmlns:a16="http://schemas.microsoft.com/office/drawing/2014/main" id="{970DCBDC-1178-46DB-B446-5A9C32A9883F}"/>
              </a:ext>
            </a:extLst>
          </p:cNvPr>
          <p:cNvCxnSpPr>
            <a:cxnSpLocks/>
            <a:stCxn id="192" idx="2"/>
            <a:endCxn id="252" idx="0"/>
          </p:cNvCxnSpPr>
          <p:nvPr/>
        </p:nvCxnSpPr>
        <p:spPr>
          <a:xfrm rot="5400000">
            <a:off x="6254029" y="4075254"/>
            <a:ext cx="1204871" cy="112818"/>
          </a:xfrm>
          <a:prstGeom prst="bentConnector3">
            <a:avLst>
              <a:gd name="adj1" fmla="val 50000"/>
            </a:avLst>
          </a:prstGeom>
          <a:ln w="12700">
            <a:solidFill>
              <a:srgbClr val="007680"/>
            </a:solidFill>
            <a:tailEnd type="triangle"/>
          </a:ln>
        </p:spPr>
        <p:style>
          <a:lnRef idx="1">
            <a:schemeClr val="accent1"/>
          </a:lnRef>
          <a:fillRef idx="0">
            <a:schemeClr val="accent1"/>
          </a:fillRef>
          <a:effectRef idx="0">
            <a:schemeClr val="accent1"/>
          </a:effectRef>
          <a:fontRef idx="minor">
            <a:schemeClr val="tx1"/>
          </a:fontRef>
        </p:style>
      </p:cxnSp>
      <p:cxnSp>
        <p:nvCxnSpPr>
          <p:cNvPr id="318" name="Connector: Elbow 317">
            <a:extLst>
              <a:ext uri="{FF2B5EF4-FFF2-40B4-BE49-F238E27FC236}">
                <a16:creationId xmlns:a16="http://schemas.microsoft.com/office/drawing/2014/main" id="{5102DF6A-CBA4-4D7B-90CD-3B343C46E209}"/>
              </a:ext>
            </a:extLst>
          </p:cNvPr>
          <p:cNvCxnSpPr>
            <a:cxnSpLocks/>
            <a:stCxn id="194" idx="2"/>
            <a:endCxn id="252" idx="0"/>
          </p:cNvCxnSpPr>
          <p:nvPr/>
        </p:nvCxnSpPr>
        <p:spPr>
          <a:xfrm rot="5400000">
            <a:off x="6390686" y="3938598"/>
            <a:ext cx="1204871" cy="386131"/>
          </a:xfrm>
          <a:prstGeom prst="bentConnector3">
            <a:avLst>
              <a:gd name="adj1" fmla="val 50000"/>
            </a:avLst>
          </a:prstGeom>
          <a:ln w="12700">
            <a:solidFill>
              <a:srgbClr val="007680"/>
            </a:solidFill>
            <a:tailEnd type="triangle"/>
          </a:ln>
        </p:spPr>
        <p:style>
          <a:lnRef idx="1">
            <a:schemeClr val="accent1"/>
          </a:lnRef>
          <a:fillRef idx="0">
            <a:schemeClr val="accent1"/>
          </a:fillRef>
          <a:effectRef idx="0">
            <a:schemeClr val="accent1"/>
          </a:effectRef>
          <a:fontRef idx="minor">
            <a:schemeClr val="tx1"/>
          </a:fontRef>
        </p:style>
      </p:cxnSp>
      <p:cxnSp>
        <p:nvCxnSpPr>
          <p:cNvPr id="319" name="Connector: Elbow 318">
            <a:extLst>
              <a:ext uri="{FF2B5EF4-FFF2-40B4-BE49-F238E27FC236}">
                <a16:creationId xmlns:a16="http://schemas.microsoft.com/office/drawing/2014/main" id="{85BE8817-9D85-4C61-A3FF-E316E93CB160}"/>
              </a:ext>
            </a:extLst>
          </p:cNvPr>
          <p:cNvCxnSpPr>
            <a:cxnSpLocks/>
            <a:stCxn id="195" idx="2"/>
            <a:endCxn id="252" idx="0"/>
          </p:cNvCxnSpPr>
          <p:nvPr/>
        </p:nvCxnSpPr>
        <p:spPr>
          <a:xfrm rot="5400000">
            <a:off x="6527342" y="3801941"/>
            <a:ext cx="1204871" cy="659444"/>
          </a:xfrm>
          <a:prstGeom prst="bentConnector3">
            <a:avLst/>
          </a:prstGeom>
          <a:ln w="12700">
            <a:solidFill>
              <a:srgbClr val="007680"/>
            </a:solidFill>
            <a:tailEnd type="triangle"/>
          </a:ln>
        </p:spPr>
        <p:style>
          <a:lnRef idx="1">
            <a:schemeClr val="accent1"/>
          </a:lnRef>
          <a:fillRef idx="0">
            <a:schemeClr val="accent1"/>
          </a:fillRef>
          <a:effectRef idx="0">
            <a:schemeClr val="accent1"/>
          </a:effectRef>
          <a:fontRef idx="minor">
            <a:schemeClr val="tx1"/>
          </a:fontRef>
        </p:style>
      </p:cxnSp>
      <p:cxnSp>
        <p:nvCxnSpPr>
          <p:cNvPr id="320" name="Connector: Elbow 319">
            <a:extLst>
              <a:ext uri="{FF2B5EF4-FFF2-40B4-BE49-F238E27FC236}">
                <a16:creationId xmlns:a16="http://schemas.microsoft.com/office/drawing/2014/main" id="{06211F69-591B-49FA-9EA9-61A09AADD8AF}"/>
              </a:ext>
            </a:extLst>
          </p:cNvPr>
          <p:cNvCxnSpPr>
            <a:cxnSpLocks/>
            <a:stCxn id="197" idx="2"/>
            <a:endCxn id="265" idx="0"/>
          </p:cNvCxnSpPr>
          <p:nvPr/>
        </p:nvCxnSpPr>
        <p:spPr>
          <a:xfrm rot="16200000" flipH="1">
            <a:off x="7218005" y="3720762"/>
            <a:ext cx="1528144" cy="498530"/>
          </a:xfrm>
          <a:prstGeom prst="bentConnector3">
            <a:avLst/>
          </a:prstGeom>
          <a:ln w="12700">
            <a:solidFill>
              <a:srgbClr val="012169"/>
            </a:solidFill>
            <a:tailEnd type="triangle"/>
          </a:ln>
        </p:spPr>
        <p:style>
          <a:lnRef idx="1">
            <a:schemeClr val="accent1"/>
          </a:lnRef>
          <a:fillRef idx="0">
            <a:schemeClr val="accent1"/>
          </a:fillRef>
          <a:effectRef idx="0">
            <a:schemeClr val="accent1"/>
          </a:effectRef>
          <a:fontRef idx="minor">
            <a:schemeClr val="tx1"/>
          </a:fontRef>
        </p:style>
      </p:cxnSp>
      <p:cxnSp>
        <p:nvCxnSpPr>
          <p:cNvPr id="321" name="Connector: Elbow 320">
            <a:extLst>
              <a:ext uri="{FF2B5EF4-FFF2-40B4-BE49-F238E27FC236}">
                <a16:creationId xmlns:a16="http://schemas.microsoft.com/office/drawing/2014/main" id="{684638E0-33C1-4809-896B-71A79C04F888}"/>
              </a:ext>
            </a:extLst>
          </p:cNvPr>
          <p:cNvCxnSpPr>
            <a:cxnSpLocks/>
            <a:stCxn id="198" idx="2"/>
            <a:endCxn id="265" idx="0"/>
          </p:cNvCxnSpPr>
          <p:nvPr/>
        </p:nvCxnSpPr>
        <p:spPr>
          <a:xfrm rot="16200000" flipH="1">
            <a:off x="7354661" y="3857418"/>
            <a:ext cx="1528144" cy="225217"/>
          </a:xfrm>
          <a:prstGeom prst="bentConnector3">
            <a:avLst/>
          </a:prstGeom>
          <a:ln w="12700">
            <a:solidFill>
              <a:srgbClr val="012169"/>
            </a:solidFill>
            <a:tailEnd type="triangle"/>
          </a:ln>
        </p:spPr>
        <p:style>
          <a:lnRef idx="1">
            <a:schemeClr val="accent1"/>
          </a:lnRef>
          <a:fillRef idx="0">
            <a:schemeClr val="accent1"/>
          </a:fillRef>
          <a:effectRef idx="0">
            <a:schemeClr val="accent1"/>
          </a:effectRef>
          <a:fontRef idx="minor">
            <a:schemeClr val="tx1"/>
          </a:fontRef>
        </p:style>
      </p:cxnSp>
      <p:cxnSp>
        <p:nvCxnSpPr>
          <p:cNvPr id="322" name="Connector: Elbow 321">
            <a:extLst>
              <a:ext uri="{FF2B5EF4-FFF2-40B4-BE49-F238E27FC236}">
                <a16:creationId xmlns:a16="http://schemas.microsoft.com/office/drawing/2014/main" id="{7DE0F44C-64EC-4C55-8D6E-CB689563A849}"/>
              </a:ext>
            </a:extLst>
          </p:cNvPr>
          <p:cNvCxnSpPr>
            <a:cxnSpLocks/>
            <a:stCxn id="200" idx="2"/>
            <a:endCxn id="265" idx="0"/>
          </p:cNvCxnSpPr>
          <p:nvPr/>
        </p:nvCxnSpPr>
        <p:spPr>
          <a:xfrm rot="5400000">
            <a:off x="7491318" y="3945979"/>
            <a:ext cx="1528144" cy="48096"/>
          </a:xfrm>
          <a:prstGeom prst="bentConnector3">
            <a:avLst>
              <a:gd name="adj1" fmla="val 50000"/>
            </a:avLst>
          </a:prstGeom>
          <a:ln w="12700">
            <a:solidFill>
              <a:srgbClr val="012169"/>
            </a:solidFill>
            <a:tailEnd type="triangle"/>
          </a:ln>
        </p:spPr>
        <p:style>
          <a:lnRef idx="1">
            <a:schemeClr val="accent1"/>
          </a:lnRef>
          <a:fillRef idx="0">
            <a:schemeClr val="accent1"/>
          </a:fillRef>
          <a:effectRef idx="0">
            <a:schemeClr val="accent1"/>
          </a:effectRef>
          <a:fontRef idx="minor">
            <a:schemeClr val="tx1"/>
          </a:fontRef>
        </p:style>
      </p:cxnSp>
      <p:cxnSp>
        <p:nvCxnSpPr>
          <p:cNvPr id="323" name="Connector: Elbow 322">
            <a:extLst>
              <a:ext uri="{FF2B5EF4-FFF2-40B4-BE49-F238E27FC236}">
                <a16:creationId xmlns:a16="http://schemas.microsoft.com/office/drawing/2014/main" id="{6619B8C9-616C-45FA-A3AE-D3DC2A5AD754}"/>
              </a:ext>
            </a:extLst>
          </p:cNvPr>
          <p:cNvCxnSpPr>
            <a:cxnSpLocks/>
            <a:stCxn id="201" idx="2"/>
            <a:endCxn id="265" idx="0"/>
          </p:cNvCxnSpPr>
          <p:nvPr/>
        </p:nvCxnSpPr>
        <p:spPr>
          <a:xfrm rot="5400000">
            <a:off x="7627975" y="3809323"/>
            <a:ext cx="1528144" cy="321409"/>
          </a:xfrm>
          <a:prstGeom prst="bentConnector3">
            <a:avLst>
              <a:gd name="adj1" fmla="val 50000"/>
            </a:avLst>
          </a:prstGeom>
          <a:ln w="12700">
            <a:solidFill>
              <a:srgbClr val="012169"/>
            </a:solidFill>
            <a:tailEnd type="triangle"/>
          </a:ln>
        </p:spPr>
        <p:style>
          <a:lnRef idx="1">
            <a:schemeClr val="accent1"/>
          </a:lnRef>
          <a:fillRef idx="0">
            <a:schemeClr val="accent1"/>
          </a:fillRef>
          <a:effectRef idx="0">
            <a:schemeClr val="accent1"/>
          </a:effectRef>
          <a:fontRef idx="minor">
            <a:schemeClr val="tx1"/>
          </a:fontRef>
        </p:style>
      </p:cxnSp>
      <p:cxnSp>
        <p:nvCxnSpPr>
          <p:cNvPr id="324" name="Connector: Elbow 323">
            <a:extLst>
              <a:ext uri="{FF2B5EF4-FFF2-40B4-BE49-F238E27FC236}">
                <a16:creationId xmlns:a16="http://schemas.microsoft.com/office/drawing/2014/main" id="{9582FA57-405B-421B-8F04-3BD53FDBDED6}"/>
              </a:ext>
            </a:extLst>
          </p:cNvPr>
          <p:cNvCxnSpPr>
            <a:cxnSpLocks/>
            <a:stCxn id="203" idx="2"/>
            <a:endCxn id="265" idx="0"/>
          </p:cNvCxnSpPr>
          <p:nvPr/>
        </p:nvCxnSpPr>
        <p:spPr>
          <a:xfrm rot="5400000">
            <a:off x="7764631" y="3672666"/>
            <a:ext cx="1528144" cy="594722"/>
          </a:xfrm>
          <a:prstGeom prst="bentConnector3">
            <a:avLst>
              <a:gd name="adj1" fmla="val 50000"/>
            </a:avLst>
          </a:prstGeom>
          <a:ln w="12700">
            <a:solidFill>
              <a:srgbClr val="012169"/>
            </a:solidFill>
            <a:tailEnd type="triangle"/>
          </a:ln>
        </p:spPr>
        <p:style>
          <a:lnRef idx="1">
            <a:schemeClr val="accent1"/>
          </a:lnRef>
          <a:fillRef idx="0">
            <a:schemeClr val="accent1"/>
          </a:fillRef>
          <a:effectRef idx="0">
            <a:schemeClr val="accent1"/>
          </a:effectRef>
          <a:fontRef idx="minor">
            <a:schemeClr val="tx1"/>
          </a:fontRef>
        </p:style>
      </p:cxnSp>
      <p:cxnSp>
        <p:nvCxnSpPr>
          <p:cNvPr id="325" name="Connector: Elbow 324">
            <a:extLst>
              <a:ext uri="{FF2B5EF4-FFF2-40B4-BE49-F238E27FC236}">
                <a16:creationId xmlns:a16="http://schemas.microsoft.com/office/drawing/2014/main" id="{342D49D1-5A2E-4E33-8354-CCDD9B3DD080}"/>
              </a:ext>
            </a:extLst>
          </p:cNvPr>
          <p:cNvCxnSpPr>
            <a:cxnSpLocks/>
            <a:stCxn id="204" idx="2"/>
            <a:endCxn id="265" idx="0"/>
          </p:cNvCxnSpPr>
          <p:nvPr/>
        </p:nvCxnSpPr>
        <p:spPr>
          <a:xfrm rot="5400000">
            <a:off x="7901288" y="3536010"/>
            <a:ext cx="1528144" cy="868035"/>
          </a:xfrm>
          <a:prstGeom prst="bentConnector3">
            <a:avLst>
              <a:gd name="adj1" fmla="val 50000"/>
            </a:avLst>
          </a:prstGeom>
          <a:ln w="12700">
            <a:solidFill>
              <a:srgbClr val="012169"/>
            </a:solidFill>
            <a:tailEnd type="triangle"/>
          </a:ln>
        </p:spPr>
        <p:style>
          <a:lnRef idx="1">
            <a:schemeClr val="accent1"/>
          </a:lnRef>
          <a:fillRef idx="0">
            <a:schemeClr val="accent1"/>
          </a:fillRef>
          <a:effectRef idx="0">
            <a:schemeClr val="accent1"/>
          </a:effectRef>
          <a:fontRef idx="minor">
            <a:schemeClr val="tx1"/>
          </a:fontRef>
        </p:style>
      </p:cxnSp>
      <p:cxnSp>
        <p:nvCxnSpPr>
          <p:cNvPr id="326" name="Connector: Elbow 325">
            <a:extLst>
              <a:ext uri="{FF2B5EF4-FFF2-40B4-BE49-F238E27FC236}">
                <a16:creationId xmlns:a16="http://schemas.microsoft.com/office/drawing/2014/main" id="{8F16EF4A-82D5-4FAB-9F55-4D1369813C8A}"/>
              </a:ext>
            </a:extLst>
          </p:cNvPr>
          <p:cNvCxnSpPr>
            <a:cxnSpLocks/>
            <a:stCxn id="206" idx="2"/>
            <a:endCxn id="265" idx="0"/>
          </p:cNvCxnSpPr>
          <p:nvPr/>
        </p:nvCxnSpPr>
        <p:spPr>
          <a:xfrm rot="5400000">
            <a:off x="8037944" y="3399353"/>
            <a:ext cx="1528144" cy="1141348"/>
          </a:xfrm>
          <a:prstGeom prst="bentConnector3">
            <a:avLst>
              <a:gd name="adj1" fmla="val 50000"/>
            </a:avLst>
          </a:prstGeom>
          <a:ln w="12700">
            <a:solidFill>
              <a:srgbClr val="012169"/>
            </a:solidFill>
            <a:tailEnd type="triangle"/>
          </a:ln>
        </p:spPr>
        <p:style>
          <a:lnRef idx="1">
            <a:schemeClr val="accent1"/>
          </a:lnRef>
          <a:fillRef idx="0">
            <a:schemeClr val="accent1"/>
          </a:fillRef>
          <a:effectRef idx="0">
            <a:schemeClr val="accent1"/>
          </a:effectRef>
          <a:fontRef idx="minor">
            <a:schemeClr val="tx1"/>
          </a:fontRef>
        </p:style>
      </p:cxnSp>
      <p:cxnSp>
        <p:nvCxnSpPr>
          <p:cNvPr id="327" name="Connector: Elbow 326">
            <a:extLst>
              <a:ext uri="{FF2B5EF4-FFF2-40B4-BE49-F238E27FC236}">
                <a16:creationId xmlns:a16="http://schemas.microsoft.com/office/drawing/2014/main" id="{E2A22235-6122-4AD3-A0EE-8C48BC1893C2}"/>
              </a:ext>
            </a:extLst>
          </p:cNvPr>
          <p:cNvCxnSpPr>
            <a:cxnSpLocks/>
            <a:stCxn id="207" idx="2"/>
            <a:endCxn id="265" idx="0"/>
          </p:cNvCxnSpPr>
          <p:nvPr/>
        </p:nvCxnSpPr>
        <p:spPr>
          <a:xfrm rot="5400000">
            <a:off x="8174601" y="3262697"/>
            <a:ext cx="1528144" cy="1414661"/>
          </a:xfrm>
          <a:prstGeom prst="bentConnector3">
            <a:avLst>
              <a:gd name="adj1" fmla="val 50000"/>
            </a:avLst>
          </a:prstGeom>
          <a:ln w="12700">
            <a:solidFill>
              <a:srgbClr val="012169"/>
            </a:solidFill>
            <a:tailEnd type="triangle"/>
          </a:ln>
        </p:spPr>
        <p:style>
          <a:lnRef idx="1">
            <a:schemeClr val="accent1"/>
          </a:lnRef>
          <a:fillRef idx="0">
            <a:schemeClr val="accent1"/>
          </a:fillRef>
          <a:effectRef idx="0">
            <a:schemeClr val="accent1"/>
          </a:effectRef>
          <a:fontRef idx="minor">
            <a:schemeClr val="tx1"/>
          </a:fontRef>
        </p:style>
      </p:cxnSp>
      <p:cxnSp>
        <p:nvCxnSpPr>
          <p:cNvPr id="328" name="Connector: Elbow 327">
            <a:extLst>
              <a:ext uri="{FF2B5EF4-FFF2-40B4-BE49-F238E27FC236}">
                <a16:creationId xmlns:a16="http://schemas.microsoft.com/office/drawing/2014/main" id="{AC68A988-A290-4E51-BFE7-FEE5AEE82D91}"/>
              </a:ext>
            </a:extLst>
          </p:cNvPr>
          <p:cNvCxnSpPr>
            <a:cxnSpLocks/>
            <a:stCxn id="209" idx="2"/>
            <a:endCxn id="270" idx="0"/>
          </p:cNvCxnSpPr>
          <p:nvPr/>
        </p:nvCxnSpPr>
        <p:spPr>
          <a:xfrm rot="5400000">
            <a:off x="9188538" y="4003320"/>
            <a:ext cx="1204871" cy="256687"/>
          </a:xfrm>
          <a:prstGeom prst="bentConnector3">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29" name="Connector: Elbow 328">
            <a:extLst>
              <a:ext uri="{FF2B5EF4-FFF2-40B4-BE49-F238E27FC236}">
                <a16:creationId xmlns:a16="http://schemas.microsoft.com/office/drawing/2014/main" id="{97BC8609-9829-415F-A283-6A595715788F}"/>
              </a:ext>
            </a:extLst>
          </p:cNvPr>
          <p:cNvCxnSpPr>
            <a:cxnSpLocks/>
            <a:stCxn id="210" idx="2"/>
            <a:endCxn id="270" idx="0"/>
          </p:cNvCxnSpPr>
          <p:nvPr/>
        </p:nvCxnSpPr>
        <p:spPr>
          <a:xfrm rot="5400000">
            <a:off x="9325194" y="3866663"/>
            <a:ext cx="1204871" cy="530000"/>
          </a:xfrm>
          <a:prstGeom prst="bentConnector3">
            <a:avLst>
              <a:gd name="adj1" fmla="val 5000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30" name="Connector: Elbow 329">
            <a:extLst>
              <a:ext uri="{FF2B5EF4-FFF2-40B4-BE49-F238E27FC236}">
                <a16:creationId xmlns:a16="http://schemas.microsoft.com/office/drawing/2014/main" id="{D657F2F8-ED7F-4B8E-B654-9B170C7FC256}"/>
              </a:ext>
            </a:extLst>
          </p:cNvPr>
          <p:cNvCxnSpPr>
            <a:cxnSpLocks/>
            <a:stCxn id="212" idx="2"/>
            <a:endCxn id="270" idx="0"/>
          </p:cNvCxnSpPr>
          <p:nvPr/>
        </p:nvCxnSpPr>
        <p:spPr>
          <a:xfrm rot="5400000">
            <a:off x="9461851" y="3730007"/>
            <a:ext cx="1204871" cy="803313"/>
          </a:xfrm>
          <a:prstGeom prst="bentConnector3">
            <a:avLst>
              <a:gd name="adj1" fmla="val 50000"/>
            </a:avLst>
          </a:prstGeom>
          <a:ln w="12700">
            <a:solidFill>
              <a:srgbClr val="00B0F0"/>
            </a:solidFill>
            <a:tailEnd type="triangle"/>
          </a:ln>
        </p:spPr>
        <p:style>
          <a:lnRef idx="1">
            <a:schemeClr val="accent1"/>
          </a:lnRef>
          <a:fillRef idx="0">
            <a:schemeClr val="accent1"/>
          </a:fillRef>
          <a:effectRef idx="0">
            <a:schemeClr val="accent1"/>
          </a:effectRef>
          <a:fontRef idx="minor">
            <a:schemeClr val="tx1"/>
          </a:fontRef>
        </p:style>
      </p:cxnSp>
      <p:cxnSp>
        <p:nvCxnSpPr>
          <p:cNvPr id="331" name="Connector: Elbow 330">
            <a:extLst>
              <a:ext uri="{FF2B5EF4-FFF2-40B4-BE49-F238E27FC236}">
                <a16:creationId xmlns:a16="http://schemas.microsoft.com/office/drawing/2014/main" id="{FACFA8FB-924B-4B52-BB00-6DAAC6310575}"/>
              </a:ext>
            </a:extLst>
          </p:cNvPr>
          <p:cNvCxnSpPr>
            <a:cxnSpLocks/>
            <a:stCxn id="213" idx="2"/>
            <a:endCxn id="259" idx="0"/>
          </p:cNvCxnSpPr>
          <p:nvPr/>
        </p:nvCxnSpPr>
        <p:spPr>
          <a:xfrm rot="16200000" flipH="1">
            <a:off x="10152515" y="3792695"/>
            <a:ext cx="1528144" cy="354664"/>
          </a:xfrm>
          <a:prstGeom prst="bentConnector3">
            <a:avLst>
              <a:gd name="adj1" fmla="val 50000"/>
            </a:avLst>
          </a:prstGeom>
          <a:ln w="12700">
            <a:solidFill>
              <a:srgbClr val="6FC2B4"/>
            </a:solidFill>
            <a:tailEnd type="triangle"/>
          </a:ln>
        </p:spPr>
        <p:style>
          <a:lnRef idx="1">
            <a:schemeClr val="accent1"/>
          </a:lnRef>
          <a:fillRef idx="0">
            <a:schemeClr val="accent1"/>
          </a:fillRef>
          <a:effectRef idx="0">
            <a:schemeClr val="accent1"/>
          </a:effectRef>
          <a:fontRef idx="minor">
            <a:schemeClr val="tx1"/>
          </a:fontRef>
        </p:style>
      </p:cxnSp>
      <p:cxnSp>
        <p:nvCxnSpPr>
          <p:cNvPr id="332" name="Connector: Elbow 331">
            <a:extLst>
              <a:ext uri="{FF2B5EF4-FFF2-40B4-BE49-F238E27FC236}">
                <a16:creationId xmlns:a16="http://schemas.microsoft.com/office/drawing/2014/main" id="{B5F0D929-2846-4017-92F5-994D547FCDDF}"/>
              </a:ext>
            </a:extLst>
          </p:cNvPr>
          <p:cNvCxnSpPr>
            <a:cxnSpLocks/>
            <a:stCxn id="215" idx="2"/>
            <a:endCxn id="259" idx="0"/>
          </p:cNvCxnSpPr>
          <p:nvPr/>
        </p:nvCxnSpPr>
        <p:spPr>
          <a:xfrm rot="16200000" flipH="1">
            <a:off x="10289171" y="3929351"/>
            <a:ext cx="1528144" cy="81351"/>
          </a:xfrm>
          <a:prstGeom prst="bentConnector3">
            <a:avLst>
              <a:gd name="adj1" fmla="val 50000"/>
            </a:avLst>
          </a:prstGeom>
          <a:ln w="12700">
            <a:solidFill>
              <a:srgbClr val="6FC2B4"/>
            </a:solidFill>
            <a:tailEnd type="triangle"/>
          </a:ln>
        </p:spPr>
        <p:style>
          <a:lnRef idx="1">
            <a:schemeClr val="accent1"/>
          </a:lnRef>
          <a:fillRef idx="0">
            <a:schemeClr val="accent1"/>
          </a:fillRef>
          <a:effectRef idx="0">
            <a:schemeClr val="accent1"/>
          </a:effectRef>
          <a:fontRef idx="minor">
            <a:schemeClr val="tx1"/>
          </a:fontRef>
        </p:style>
      </p:cxnSp>
      <p:cxnSp>
        <p:nvCxnSpPr>
          <p:cNvPr id="333" name="Connector: Elbow 332">
            <a:extLst>
              <a:ext uri="{FF2B5EF4-FFF2-40B4-BE49-F238E27FC236}">
                <a16:creationId xmlns:a16="http://schemas.microsoft.com/office/drawing/2014/main" id="{B39BBA91-27A9-46CB-91E5-52CB59A2A50E}"/>
              </a:ext>
            </a:extLst>
          </p:cNvPr>
          <p:cNvCxnSpPr>
            <a:cxnSpLocks/>
            <a:stCxn id="216" idx="2"/>
            <a:endCxn id="259" idx="0"/>
          </p:cNvCxnSpPr>
          <p:nvPr/>
        </p:nvCxnSpPr>
        <p:spPr>
          <a:xfrm rot="5400000">
            <a:off x="10425828" y="3874046"/>
            <a:ext cx="1528144" cy="191962"/>
          </a:xfrm>
          <a:prstGeom prst="bentConnector3">
            <a:avLst>
              <a:gd name="adj1" fmla="val 50000"/>
            </a:avLst>
          </a:prstGeom>
          <a:ln w="12700">
            <a:solidFill>
              <a:srgbClr val="6FC2B4"/>
            </a:solidFill>
            <a:tailEnd type="triangle"/>
          </a:ln>
        </p:spPr>
        <p:style>
          <a:lnRef idx="1">
            <a:schemeClr val="accent1"/>
          </a:lnRef>
          <a:fillRef idx="0">
            <a:schemeClr val="accent1"/>
          </a:fillRef>
          <a:effectRef idx="0">
            <a:schemeClr val="accent1"/>
          </a:effectRef>
          <a:fontRef idx="minor">
            <a:schemeClr val="tx1"/>
          </a:fontRef>
        </p:style>
      </p:cxnSp>
      <p:cxnSp>
        <p:nvCxnSpPr>
          <p:cNvPr id="334" name="Connector: Elbow 333">
            <a:extLst>
              <a:ext uri="{FF2B5EF4-FFF2-40B4-BE49-F238E27FC236}">
                <a16:creationId xmlns:a16="http://schemas.microsoft.com/office/drawing/2014/main" id="{4D2D9153-DB9E-4D20-9445-D07B97D5A263}"/>
              </a:ext>
            </a:extLst>
          </p:cNvPr>
          <p:cNvCxnSpPr>
            <a:cxnSpLocks/>
            <a:stCxn id="218" idx="2"/>
            <a:endCxn id="259" idx="0"/>
          </p:cNvCxnSpPr>
          <p:nvPr/>
        </p:nvCxnSpPr>
        <p:spPr>
          <a:xfrm rot="5400000">
            <a:off x="10562478" y="3737396"/>
            <a:ext cx="1528144" cy="465262"/>
          </a:xfrm>
          <a:prstGeom prst="bentConnector3">
            <a:avLst>
              <a:gd name="adj1" fmla="val 50000"/>
            </a:avLst>
          </a:prstGeom>
          <a:ln w="12700">
            <a:solidFill>
              <a:srgbClr val="6FC2B4"/>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35" name="Table 334">
            <a:extLst>
              <a:ext uri="{FF2B5EF4-FFF2-40B4-BE49-F238E27FC236}">
                <a16:creationId xmlns:a16="http://schemas.microsoft.com/office/drawing/2014/main" id="{4CEB0725-8D55-44B9-81D3-A9F2141A5940}"/>
              </a:ext>
            </a:extLst>
          </p:cNvPr>
          <p:cNvGraphicFramePr>
            <a:graphicFrameLocks noGrp="1"/>
          </p:cNvGraphicFramePr>
          <p:nvPr>
            <p:extLst>
              <p:ext uri="{D42A27DB-BD31-4B8C-83A1-F6EECF244321}">
                <p14:modId xmlns:p14="http://schemas.microsoft.com/office/powerpoint/2010/main" val="3221569384"/>
              </p:ext>
            </p:extLst>
          </p:nvPr>
        </p:nvGraphicFramePr>
        <p:xfrm>
          <a:off x="501655" y="2143454"/>
          <a:ext cx="11188695" cy="1410545"/>
        </p:xfrm>
        <a:graphic>
          <a:graphicData uri="http://schemas.openxmlformats.org/drawingml/2006/table">
            <a:tbl>
              <a:tblPr/>
              <a:tblGrid>
                <a:gridCol w="272895">
                  <a:extLst>
                    <a:ext uri="{9D8B030D-6E8A-4147-A177-3AD203B41FA5}">
                      <a16:colId xmlns:a16="http://schemas.microsoft.com/office/drawing/2014/main" val="3140441128"/>
                    </a:ext>
                  </a:extLst>
                </a:gridCol>
                <a:gridCol w="272895">
                  <a:extLst>
                    <a:ext uri="{9D8B030D-6E8A-4147-A177-3AD203B41FA5}">
                      <a16:colId xmlns:a16="http://schemas.microsoft.com/office/drawing/2014/main" val="3449334635"/>
                    </a:ext>
                  </a:extLst>
                </a:gridCol>
                <a:gridCol w="272895">
                  <a:extLst>
                    <a:ext uri="{9D8B030D-6E8A-4147-A177-3AD203B41FA5}">
                      <a16:colId xmlns:a16="http://schemas.microsoft.com/office/drawing/2014/main" val="1351101274"/>
                    </a:ext>
                  </a:extLst>
                </a:gridCol>
                <a:gridCol w="272895">
                  <a:extLst>
                    <a:ext uri="{9D8B030D-6E8A-4147-A177-3AD203B41FA5}">
                      <a16:colId xmlns:a16="http://schemas.microsoft.com/office/drawing/2014/main" val="80048640"/>
                    </a:ext>
                  </a:extLst>
                </a:gridCol>
                <a:gridCol w="272895">
                  <a:extLst>
                    <a:ext uri="{9D8B030D-6E8A-4147-A177-3AD203B41FA5}">
                      <a16:colId xmlns:a16="http://schemas.microsoft.com/office/drawing/2014/main" val="3773671622"/>
                    </a:ext>
                  </a:extLst>
                </a:gridCol>
                <a:gridCol w="272895">
                  <a:extLst>
                    <a:ext uri="{9D8B030D-6E8A-4147-A177-3AD203B41FA5}">
                      <a16:colId xmlns:a16="http://schemas.microsoft.com/office/drawing/2014/main" val="1026713714"/>
                    </a:ext>
                  </a:extLst>
                </a:gridCol>
                <a:gridCol w="272895">
                  <a:extLst>
                    <a:ext uri="{9D8B030D-6E8A-4147-A177-3AD203B41FA5}">
                      <a16:colId xmlns:a16="http://schemas.microsoft.com/office/drawing/2014/main" val="2048056967"/>
                    </a:ext>
                  </a:extLst>
                </a:gridCol>
                <a:gridCol w="272895">
                  <a:extLst>
                    <a:ext uri="{9D8B030D-6E8A-4147-A177-3AD203B41FA5}">
                      <a16:colId xmlns:a16="http://schemas.microsoft.com/office/drawing/2014/main" val="1702123106"/>
                    </a:ext>
                  </a:extLst>
                </a:gridCol>
                <a:gridCol w="272895">
                  <a:extLst>
                    <a:ext uri="{9D8B030D-6E8A-4147-A177-3AD203B41FA5}">
                      <a16:colId xmlns:a16="http://schemas.microsoft.com/office/drawing/2014/main" val="86167942"/>
                    </a:ext>
                  </a:extLst>
                </a:gridCol>
                <a:gridCol w="272895">
                  <a:extLst>
                    <a:ext uri="{9D8B030D-6E8A-4147-A177-3AD203B41FA5}">
                      <a16:colId xmlns:a16="http://schemas.microsoft.com/office/drawing/2014/main" val="474801609"/>
                    </a:ext>
                  </a:extLst>
                </a:gridCol>
                <a:gridCol w="272895">
                  <a:extLst>
                    <a:ext uri="{9D8B030D-6E8A-4147-A177-3AD203B41FA5}">
                      <a16:colId xmlns:a16="http://schemas.microsoft.com/office/drawing/2014/main" val="4197591502"/>
                    </a:ext>
                  </a:extLst>
                </a:gridCol>
                <a:gridCol w="272895">
                  <a:extLst>
                    <a:ext uri="{9D8B030D-6E8A-4147-A177-3AD203B41FA5}">
                      <a16:colId xmlns:a16="http://schemas.microsoft.com/office/drawing/2014/main" val="1836364765"/>
                    </a:ext>
                  </a:extLst>
                </a:gridCol>
                <a:gridCol w="272895">
                  <a:extLst>
                    <a:ext uri="{9D8B030D-6E8A-4147-A177-3AD203B41FA5}">
                      <a16:colId xmlns:a16="http://schemas.microsoft.com/office/drawing/2014/main" val="2863585686"/>
                    </a:ext>
                  </a:extLst>
                </a:gridCol>
                <a:gridCol w="272895">
                  <a:extLst>
                    <a:ext uri="{9D8B030D-6E8A-4147-A177-3AD203B41FA5}">
                      <a16:colId xmlns:a16="http://schemas.microsoft.com/office/drawing/2014/main" val="11845034"/>
                    </a:ext>
                  </a:extLst>
                </a:gridCol>
                <a:gridCol w="272895">
                  <a:extLst>
                    <a:ext uri="{9D8B030D-6E8A-4147-A177-3AD203B41FA5}">
                      <a16:colId xmlns:a16="http://schemas.microsoft.com/office/drawing/2014/main" val="3008843771"/>
                    </a:ext>
                  </a:extLst>
                </a:gridCol>
                <a:gridCol w="272895">
                  <a:extLst>
                    <a:ext uri="{9D8B030D-6E8A-4147-A177-3AD203B41FA5}">
                      <a16:colId xmlns:a16="http://schemas.microsoft.com/office/drawing/2014/main" val="334266185"/>
                    </a:ext>
                  </a:extLst>
                </a:gridCol>
                <a:gridCol w="272895">
                  <a:extLst>
                    <a:ext uri="{9D8B030D-6E8A-4147-A177-3AD203B41FA5}">
                      <a16:colId xmlns:a16="http://schemas.microsoft.com/office/drawing/2014/main" val="2684544465"/>
                    </a:ext>
                  </a:extLst>
                </a:gridCol>
                <a:gridCol w="364580">
                  <a:extLst>
                    <a:ext uri="{9D8B030D-6E8A-4147-A177-3AD203B41FA5}">
                      <a16:colId xmlns:a16="http://schemas.microsoft.com/office/drawing/2014/main" val="1351402704"/>
                    </a:ext>
                  </a:extLst>
                </a:gridCol>
                <a:gridCol w="181210">
                  <a:extLst>
                    <a:ext uri="{9D8B030D-6E8A-4147-A177-3AD203B41FA5}">
                      <a16:colId xmlns:a16="http://schemas.microsoft.com/office/drawing/2014/main" val="3124051993"/>
                    </a:ext>
                  </a:extLst>
                </a:gridCol>
                <a:gridCol w="272895">
                  <a:extLst>
                    <a:ext uri="{9D8B030D-6E8A-4147-A177-3AD203B41FA5}">
                      <a16:colId xmlns:a16="http://schemas.microsoft.com/office/drawing/2014/main" val="2525374078"/>
                    </a:ext>
                  </a:extLst>
                </a:gridCol>
                <a:gridCol w="272895">
                  <a:extLst>
                    <a:ext uri="{9D8B030D-6E8A-4147-A177-3AD203B41FA5}">
                      <a16:colId xmlns:a16="http://schemas.microsoft.com/office/drawing/2014/main" val="3698248369"/>
                    </a:ext>
                  </a:extLst>
                </a:gridCol>
                <a:gridCol w="272895">
                  <a:extLst>
                    <a:ext uri="{9D8B030D-6E8A-4147-A177-3AD203B41FA5}">
                      <a16:colId xmlns:a16="http://schemas.microsoft.com/office/drawing/2014/main" val="3916646074"/>
                    </a:ext>
                  </a:extLst>
                </a:gridCol>
                <a:gridCol w="272895">
                  <a:extLst>
                    <a:ext uri="{9D8B030D-6E8A-4147-A177-3AD203B41FA5}">
                      <a16:colId xmlns:a16="http://schemas.microsoft.com/office/drawing/2014/main" val="2773787714"/>
                    </a:ext>
                  </a:extLst>
                </a:gridCol>
                <a:gridCol w="272895">
                  <a:extLst>
                    <a:ext uri="{9D8B030D-6E8A-4147-A177-3AD203B41FA5}">
                      <a16:colId xmlns:a16="http://schemas.microsoft.com/office/drawing/2014/main" val="2212889933"/>
                    </a:ext>
                  </a:extLst>
                </a:gridCol>
                <a:gridCol w="272895">
                  <a:extLst>
                    <a:ext uri="{9D8B030D-6E8A-4147-A177-3AD203B41FA5}">
                      <a16:colId xmlns:a16="http://schemas.microsoft.com/office/drawing/2014/main" val="2559961436"/>
                    </a:ext>
                  </a:extLst>
                </a:gridCol>
                <a:gridCol w="272895">
                  <a:extLst>
                    <a:ext uri="{9D8B030D-6E8A-4147-A177-3AD203B41FA5}">
                      <a16:colId xmlns:a16="http://schemas.microsoft.com/office/drawing/2014/main" val="3461920914"/>
                    </a:ext>
                  </a:extLst>
                </a:gridCol>
                <a:gridCol w="272895">
                  <a:extLst>
                    <a:ext uri="{9D8B030D-6E8A-4147-A177-3AD203B41FA5}">
                      <a16:colId xmlns:a16="http://schemas.microsoft.com/office/drawing/2014/main" val="1414531065"/>
                    </a:ext>
                  </a:extLst>
                </a:gridCol>
                <a:gridCol w="272895">
                  <a:extLst>
                    <a:ext uri="{9D8B030D-6E8A-4147-A177-3AD203B41FA5}">
                      <a16:colId xmlns:a16="http://schemas.microsoft.com/office/drawing/2014/main" val="838664879"/>
                    </a:ext>
                  </a:extLst>
                </a:gridCol>
                <a:gridCol w="272895">
                  <a:extLst>
                    <a:ext uri="{9D8B030D-6E8A-4147-A177-3AD203B41FA5}">
                      <a16:colId xmlns:a16="http://schemas.microsoft.com/office/drawing/2014/main" val="4270458287"/>
                    </a:ext>
                  </a:extLst>
                </a:gridCol>
                <a:gridCol w="272895">
                  <a:extLst>
                    <a:ext uri="{9D8B030D-6E8A-4147-A177-3AD203B41FA5}">
                      <a16:colId xmlns:a16="http://schemas.microsoft.com/office/drawing/2014/main" val="1349857344"/>
                    </a:ext>
                  </a:extLst>
                </a:gridCol>
                <a:gridCol w="272895">
                  <a:extLst>
                    <a:ext uri="{9D8B030D-6E8A-4147-A177-3AD203B41FA5}">
                      <a16:colId xmlns:a16="http://schemas.microsoft.com/office/drawing/2014/main" val="2576918376"/>
                    </a:ext>
                  </a:extLst>
                </a:gridCol>
                <a:gridCol w="272895">
                  <a:extLst>
                    <a:ext uri="{9D8B030D-6E8A-4147-A177-3AD203B41FA5}">
                      <a16:colId xmlns:a16="http://schemas.microsoft.com/office/drawing/2014/main" val="3493544449"/>
                    </a:ext>
                  </a:extLst>
                </a:gridCol>
                <a:gridCol w="272895">
                  <a:extLst>
                    <a:ext uri="{9D8B030D-6E8A-4147-A177-3AD203B41FA5}">
                      <a16:colId xmlns:a16="http://schemas.microsoft.com/office/drawing/2014/main" val="2450346443"/>
                    </a:ext>
                  </a:extLst>
                </a:gridCol>
                <a:gridCol w="272895">
                  <a:extLst>
                    <a:ext uri="{9D8B030D-6E8A-4147-A177-3AD203B41FA5}">
                      <a16:colId xmlns:a16="http://schemas.microsoft.com/office/drawing/2014/main" val="2060554603"/>
                    </a:ext>
                  </a:extLst>
                </a:gridCol>
                <a:gridCol w="272895">
                  <a:extLst>
                    <a:ext uri="{9D8B030D-6E8A-4147-A177-3AD203B41FA5}">
                      <a16:colId xmlns:a16="http://schemas.microsoft.com/office/drawing/2014/main" val="674722129"/>
                    </a:ext>
                  </a:extLst>
                </a:gridCol>
                <a:gridCol w="272895">
                  <a:extLst>
                    <a:ext uri="{9D8B030D-6E8A-4147-A177-3AD203B41FA5}">
                      <a16:colId xmlns:a16="http://schemas.microsoft.com/office/drawing/2014/main" val="826938316"/>
                    </a:ext>
                  </a:extLst>
                </a:gridCol>
                <a:gridCol w="272895">
                  <a:extLst>
                    <a:ext uri="{9D8B030D-6E8A-4147-A177-3AD203B41FA5}">
                      <a16:colId xmlns:a16="http://schemas.microsoft.com/office/drawing/2014/main" val="476028831"/>
                    </a:ext>
                  </a:extLst>
                </a:gridCol>
                <a:gridCol w="272895">
                  <a:extLst>
                    <a:ext uri="{9D8B030D-6E8A-4147-A177-3AD203B41FA5}">
                      <a16:colId xmlns:a16="http://schemas.microsoft.com/office/drawing/2014/main" val="1208741573"/>
                    </a:ext>
                  </a:extLst>
                </a:gridCol>
                <a:gridCol w="272895">
                  <a:extLst>
                    <a:ext uri="{9D8B030D-6E8A-4147-A177-3AD203B41FA5}">
                      <a16:colId xmlns:a16="http://schemas.microsoft.com/office/drawing/2014/main" val="2464823956"/>
                    </a:ext>
                  </a:extLst>
                </a:gridCol>
                <a:gridCol w="272895">
                  <a:extLst>
                    <a:ext uri="{9D8B030D-6E8A-4147-A177-3AD203B41FA5}">
                      <a16:colId xmlns:a16="http://schemas.microsoft.com/office/drawing/2014/main" val="4200395584"/>
                    </a:ext>
                  </a:extLst>
                </a:gridCol>
                <a:gridCol w="272895">
                  <a:extLst>
                    <a:ext uri="{9D8B030D-6E8A-4147-A177-3AD203B41FA5}">
                      <a16:colId xmlns:a16="http://schemas.microsoft.com/office/drawing/2014/main" val="802344174"/>
                    </a:ext>
                  </a:extLst>
                </a:gridCol>
              </a:tblGrid>
              <a:tr h="1410545">
                <a:tc>
                  <a:txBody>
                    <a:bodyPr/>
                    <a:lstStyle/>
                    <a:p>
                      <a:pPr algn="l" fontAlgn="b"/>
                      <a:r>
                        <a:rPr lang="en-NZ" sz="900" b="0" i="0" u="none" strike="noStrike" dirty="0">
                          <a:solidFill>
                            <a:schemeClr val="bg1"/>
                          </a:solidFill>
                          <a:effectLst/>
                          <a:latin typeface="+mn-lt"/>
                          <a:cs typeface="Calibri Light" panose="020F0302020204030204" pitchFamily="34" charset="0"/>
                        </a:rPr>
                        <a:t>Admin</a:t>
                      </a:r>
                    </a:p>
                  </a:txBody>
                  <a:tcPr marL="3411" marR="3411" marT="3411" marB="72000" vert="vert270" anchor="ctr">
                    <a:lnL>
                      <a:noFill/>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Dispatch</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Admin Support</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Trainee/Apprentice</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Skilled labourer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Qualified Tradespeople</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Qualified Tradespeople</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rgbClr val="00B0F0"/>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Technical Advisor</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rgbClr val="00B0F0"/>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Heavy Vehicle Driver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Skilled Labourer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Labourer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Trainee/Apprentice</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Qualified Tradespeople</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Graduate Engineer</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Engineer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Graduate engineers (Con)</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rgbClr val="00B0F0"/>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Mid-Level Professional</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rgbClr val="00B0F0"/>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Mana Whenua / </a:t>
                      </a:r>
                    </a:p>
                    <a:p>
                      <a:pPr algn="l" fontAlgn="b"/>
                      <a:r>
                        <a:rPr lang="en-NZ" sz="900" b="0" i="0" u="none" strike="noStrike" dirty="0">
                          <a:solidFill>
                            <a:schemeClr val="bg1"/>
                          </a:solidFill>
                          <a:effectLst/>
                          <a:latin typeface="+mn-lt"/>
                          <a:cs typeface="Calibri Light" panose="020F0302020204030204" pitchFamily="34" charset="0"/>
                        </a:rPr>
                        <a:t>Iwi Engagement</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Project Director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Manager</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Operational Team Leader</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Project Manager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rgbClr val="00B0F0"/>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Senior Project Manager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rgbClr val="00B0F0"/>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Construction Manager</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Construction Supervisor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Manager</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Senior Engineer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Principal Engineer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Water Supply Engineer</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Water Treatment Engineer</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Senior Professional / Specialist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rgbClr val="00B0F0"/>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Senior Specialist</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rgbClr val="00B0F0"/>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Advanced Specialist</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rgbClr val="00B0F0"/>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Senior engineer</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Programme Lead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Operational Team Leader</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Water Technicians –  (trade equivalent)</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accent2"/>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Technicians – CCTV/trenchless technology</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Water Technicians –  (trade equivalent)</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900" b="0" i="0" u="none" strike="noStrike" dirty="0">
                          <a:solidFill>
                            <a:schemeClr val="bg1"/>
                          </a:solidFill>
                          <a:effectLst/>
                          <a:latin typeface="+mn-lt"/>
                          <a:cs typeface="Calibri Light" panose="020F0302020204030204" pitchFamily="34" charset="0"/>
                        </a:rPr>
                        <a:t>Laboratory Technicians</a:t>
                      </a:r>
                    </a:p>
                  </a:txBody>
                  <a:tcPr marL="3411" marR="3411" marT="3411" marB="72000" vert="vert27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a:noFill/>
                    </a:lnT>
                    <a:lnB>
                      <a:noFill/>
                    </a:lnB>
                    <a:solidFill>
                      <a:schemeClr val="bg2">
                        <a:lumMod val="50000"/>
                      </a:schemeClr>
                    </a:solidFill>
                  </a:tcPr>
                </a:tc>
                <a:tc>
                  <a:txBody>
                    <a:bodyPr/>
                    <a:lstStyle/>
                    <a:p>
                      <a:pPr algn="l" fontAlgn="b"/>
                      <a:r>
                        <a:rPr lang="en-NZ" sz="800" b="0" i="0" u="none" strike="noStrike" dirty="0">
                          <a:solidFill>
                            <a:schemeClr val="bg1"/>
                          </a:solidFill>
                          <a:effectLst/>
                          <a:latin typeface="+mn-lt"/>
                          <a:cs typeface="Calibri Light" panose="020F0302020204030204" pitchFamily="34" charset="0"/>
                        </a:rPr>
                        <a:t>Technical Advisor</a:t>
                      </a:r>
                    </a:p>
                  </a:txBody>
                  <a:tcPr marL="3411" marR="3411" marT="3411" marB="72000" vert="vert270" anchor="ctr">
                    <a:lnL w="6350" cap="flat" cmpd="sng" algn="ctr">
                      <a:solidFill>
                        <a:schemeClr val="bg1"/>
                      </a:solidFill>
                      <a:prstDash val="solid"/>
                      <a:round/>
                      <a:headEnd type="none" w="med" len="med"/>
                      <a:tailEnd type="none" w="med" len="med"/>
                    </a:lnL>
                    <a:lnR>
                      <a:noFill/>
                    </a:lnR>
                    <a:lnT>
                      <a:noFill/>
                    </a:lnT>
                    <a:lnB>
                      <a:noFill/>
                    </a:lnB>
                    <a:solidFill>
                      <a:schemeClr val="bg2">
                        <a:lumMod val="50000"/>
                      </a:schemeClr>
                    </a:solidFill>
                  </a:tcPr>
                </a:tc>
                <a:extLst>
                  <a:ext uri="{0D108BD9-81ED-4DB2-BD59-A6C34878D82A}">
                    <a16:rowId xmlns:a16="http://schemas.microsoft.com/office/drawing/2014/main" val="2033076749"/>
                  </a:ext>
                </a:extLst>
              </a:tr>
            </a:tbl>
          </a:graphicData>
        </a:graphic>
      </p:graphicFrame>
    </p:spTree>
    <p:extLst>
      <p:ext uri="{BB962C8B-B14F-4D97-AF65-F5344CB8AC3E}">
        <p14:creationId xmlns:p14="http://schemas.microsoft.com/office/powerpoint/2010/main" val="1121495397"/>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E9FCB7-B3EE-4876-B4D9-896D077CAB28}"/>
              </a:ext>
            </a:extLst>
          </p:cNvPr>
          <p:cNvSpPr>
            <a:spLocks noGrp="1"/>
          </p:cNvSpPr>
          <p:nvPr>
            <p:ph type="title"/>
          </p:nvPr>
        </p:nvSpPr>
        <p:spPr/>
        <p:txBody>
          <a:bodyPr/>
          <a:lstStyle/>
          <a:p>
            <a:r>
              <a:rPr lang="en-GB" b="1">
                <a:latin typeface="Calibri Light" panose="020F0302020204030204" pitchFamily="34" charset="0"/>
              </a:rPr>
              <a:t>Potential Future Scenarios</a:t>
            </a:r>
            <a:endParaRPr lang="en-GB" b="1" dirty="0">
              <a:latin typeface="Calibri Light" panose="020F0302020204030204" pitchFamily="34" charset="0"/>
            </a:endParaRPr>
          </a:p>
        </p:txBody>
      </p:sp>
      <p:sp>
        <p:nvSpPr>
          <p:cNvPr id="3" name="Text Placeholder 2">
            <a:extLst>
              <a:ext uri="{FF2B5EF4-FFF2-40B4-BE49-F238E27FC236}">
                <a16:creationId xmlns:a16="http://schemas.microsoft.com/office/drawing/2014/main" id="{953CCD7D-2A66-4822-90E5-45AFC0712E8C}"/>
              </a:ext>
            </a:extLst>
          </p:cNvPr>
          <p:cNvSpPr>
            <a:spLocks noGrp="1"/>
          </p:cNvSpPr>
          <p:nvPr>
            <p:ph type="body" sz="quarter" idx="13"/>
          </p:nvPr>
        </p:nvSpPr>
        <p:spPr/>
        <p:txBody>
          <a:bodyPr/>
          <a:lstStyle/>
          <a:p>
            <a:r>
              <a:rPr lang="en-GB" dirty="0">
                <a:latin typeface="Calibri Light" panose="020F0302020204030204" pitchFamily="34" charset="0"/>
              </a:rPr>
              <a:t>The Model is designed to analyse scenarios that could include: (1) changes in capex/</a:t>
            </a:r>
            <a:r>
              <a:rPr lang="en-GB" dirty="0" err="1">
                <a:latin typeface="Calibri Light" panose="020F0302020204030204" pitchFamily="34" charset="0"/>
              </a:rPr>
              <a:t>opex</a:t>
            </a:r>
            <a:r>
              <a:rPr lang="en-GB" dirty="0">
                <a:latin typeface="Calibri Light" panose="020F0302020204030204" pitchFamily="34" charset="0"/>
              </a:rPr>
              <a:t> from the existing LTP baseline, (2) changes in the project profile through reform, or (3) variances in metro/provincial/rural workforce profiles </a:t>
            </a:r>
          </a:p>
        </p:txBody>
      </p:sp>
      <p:cxnSp>
        <p:nvCxnSpPr>
          <p:cNvPr id="157" name="Straight Connector 156">
            <a:extLst>
              <a:ext uri="{FF2B5EF4-FFF2-40B4-BE49-F238E27FC236}">
                <a16:creationId xmlns:a16="http://schemas.microsoft.com/office/drawing/2014/main" id="{5592490B-6762-4749-86A6-BAF6001660C9}"/>
              </a:ext>
            </a:extLst>
          </p:cNvPr>
          <p:cNvCxnSpPr>
            <a:cxnSpLocks/>
          </p:cNvCxnSpPr>
          <p:nvPr/>
        </p:nvCxnSpPr>
        <p:spPr>
          <a:xfrm>
            <a:off x="7992593" y="1376424"/>
            <a:ext cx="0" cy="4932000"/>
          </a:xfrm>
          <a:prstGeom prst="line">
            <a:avLst/>
          </a:prstGeom>
          <a:ln w="28575">
            <a:solidFill>
              <a:srgbClr val="0076A8"/>
            </a:solidFill>
            <a:prstDash val="solid"/>
          </a:ln>
        </p:spPr>
        <p:style>
          <a:lnRef idx="1">
            <a:schemeClr val="accent1"/>
          </a:lnRef>
          <a:fillRef idx="0">
            <a:schemeClr val="accent1"/>
          </a:fillRef>
          <a:effectRef idx="0">
            <a:schemeClr val="accent1"/>
          </a:effectRef>
          <a:fontRef idx="minor">
            <a:schemeClr val="tx1"/>
          </a:fontRef>
        </p:style>
      </p:cxnSp>
      <p:sp>
        <p:nvSpPr>
          <p:cNvPr id="158" name="Freeform 48">
            <a:extLst>
              <a:ext uri="{FF2B5EF4-FFF2-40B4-BE49-F238E27FC236}">
                <a16:creationId xmlns:a16="http://schemas.microsoft.com/office/drawing/2014/main" id="{54681A9C-100B-4157-A3AD-73891CDD31C1}"/>
              </a:ext>
            </a:extLst>
          </p:cNvPr>
          <p:cNvSpPr>
            <a:spLocks/>
          </p:cNvSpPr>
          <p:nvPr/>
        </p:nvSpPr>
        <p:spPr bwMode="auto">
          <a:xfrm>
            <a:off x="728267" y="3599766"/>
            <a:ext cx="1074054" cy="958899"/>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solidFill>
            <a:srgbClr val="007680"/>
          </a:solidFill>
          <a:ln>
            <a:noFill/>
          </a:ln>
          <a:effectLst/>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161" name="Freeform 88">
            <a:extLst>
              <a:ext uri="{FF2B5EF4-FFF2-40B4-BE49-F238E27FC236}">
                <a16:creationId xmlns:a16="http://schemas.microsoft.com/office/drawing/2014/main" id="{80EBF659-B3BD-44F5-8236-1CF574AE4395}"/>
              </a:ext>
            </a:extLst>
          </p:cNvPr>
          <p:cNvSpPr>
            <a:spLocks/>
          </p:cNvSpPr>
          <p:nvPr/>
        </p:nvSpPr>
        <p:spPr bwMode="auto">
          <a:xfrm>
            <a:off x="1371722" y="4567164"/>
            <a:ext cx="751470" cy="1015670"/>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6FC2B4"/>
          </a:solidFill>
          <a:ln>
            <a:noFill/>
          </a:ln>
          <a:effectLst/>
        </p:spPr>
        <p:txBody>
          <a:bodyPr vert="horz" wrap="square" lIns="91440" tIns="45720" rIns="91440" bIns="45720" numCol="1" anchor="b" anchorCtr="0" compatLnSpc="1">
            <a:prstTxWarp prst="textNoShape">
              <a:avLst/>
            </a:prstTxWarp>
          </a:bodyPr>
          <a:lstStyle/>
          <a:p>
            <a:pPr algn="ctr">
              <a:lnSpc>
                <a:spcPts val="900"/>
              </a:lnSpc>
            </a:pPr>
            <a:r>
              <a:rPr lang="en-GB" sz="1400">
                <a:solidFill>
                  <a:schemeClr val="bg1"/>
                </a:solidFill>
                <a:latin typeface="+mj-lt"/>
              </a:rPr>
              <a:t>+25%</a:t>
            </a:r>
            <a:r>
              <a:rPr lang="en-GB" sz="1100">
                <a:solidFill>
                  <a:schemeClr val="bg1"/>
                </a:solidFill>
                <a:latin typeface="+mj-lt"/>
              </a:rPr>
              <a:t>      </a:t>
            </a:r>
            <a:r>
              <a:rPr lang="en-GB" sz="700">
                <a:solidFill>
                  <a:schemeClr val="bg1"/>
                </a:solidFill>
                <a:latin typeface="+mj-lt"/>
              </a:rPr>
              <a:t>on base LTP opex Spend</a:t>
            </a:r>
          </a:p>
          <a:p>
            <a:pPr algn="ctr">
              <a:lnSpc>
                <a:spcPts val="900"/>
              </a:lnSpc>
            </a:pPr>
            <a:endParaRPr lang="en-GB" sz="900" dirty="0">
              <a:solidFill>
                <a:schemeClr val="bg1"/>
              </a:solidFill>
              <a:latin typeface="+mj-lt"/>
            </a:endParaRPr>
          </a:p>
        </p:txBody>
      </p:sp>
      <p:grpSp>
        <p:nvGrpSpPr>
          <p:cNvPr id="164" name="Group 163">
            <a:extLst>
              <a:ext uri="{FF2B5EF4-FFF2-40B4-BE49-F238E27FC236}">
                <a16:creationId xmlns:a16="http://schemas.microsoft.com/office/drawing/2014/main" id="{F1DBB713-6AA8-47FE-887C-8755B45EB892}"/>
              </a:ext>
            </a:extLst>
          </p:cNvPr>
          <p:cNvGrpSpPr>
            <a:grpSpLocks noChangeAspect="1"/>
          </p:cNvGrpSpPr>
          <p:nvPr/>
        </p:nvGrpSpPr>
        <p:grpSpPr>
          <a:xfrm>
            <a:off x="2551616" y="3767550"/>
            <a:ext cx="1019683" cy="1504049"/>
            <a:chOff x="2608971" y="3116517"/>
            <a:chExt cx="1082863" cy="1597242"/>
          </a:xfrm>
          <a:effectLst/>
        </p:grpSpPr>
        <p:sp>
          <p:nvSpPr>
            <p:cNvPr id="167" name="Freeform 48">
              <a:extLst>
                <a:ext uri="{FF2B5EF4-FFF2-40B4-BE49-F238E27FC236}">
                  <a16:creationId xmlns:a16="http://schemas.microsoft.com/office/drawing/2014/main" id="{E230F77D-606A-40B0-BE2D-1163E6C18244}"/>
                </a:ext>
              </a:extLst>
            </p:cNvPr>
            <p:cNvSpPr>
              <a:spLocks noChangeAspect="1"/>
            </p:cNvSpPr>
            <p:nvPr/>
          </p:nvSpPr>
          <p:spPr bwMode="auto">
            <a:xfrm flipH="1">
              <a:off x="2881281" y="3116517"/>
              <a:ext cx="810553" cy="723650"/>
            </a:xfrm>
            <a:custGeom>
              <a:avLst/>
              <a:gdLst>
                <a:gd name="T0" fmla="*/ 7 w 956"/>
                <a:gd name="T1" fmla="*/ 734 h 854"/>
                <a:gd name="T2" fmla="*/ 76 w 956"/>
                <a:gd name="T3" fmla="*/ 705 h 854"/>
                <a:gd name="T4" fmla="*/ 353 w 956"/>
                <a:gd name="T5" fmla="*/ 716 h 854"/>
                <a:gd name="T6" fmla="*/ 797 w 956"/>
                <a:gd name="T7" fmla="*/ 766 h 854"/>
                <a:gd name="T8" fmla="*/ 956 w 956"/>
                <a:gd name="T9" fmla="*/ 821 h 854"/>
                <a:gd name="T10" fmla="*/ 883 w 956"/>
                <a:gd name="T11" fmla="*/ 583 h 854"/>
                <a:gd name="T12" fmla="*/ 668 w 956"/>
                <a:gd name="T13" fmla="*/ 516 h 854"/>
                <a:gd name="T14" fmla="*/ 597 w 956"/>
                <a:gd name="T15" fmla="*/ 410 h 854"/>
                <a:gd name="T16" fmla="*/ 559 w 956"/>
                <a:gd name="T17" fmla="*/ 339 h 854"/>
                <a:gd name="T18" fmla="*/ 544 w 956"/>
                <a:gd name="T19" fmla="*/ 311 h 854"/>
                <a:gd name="T20" fmla="*/ 526 w 956"/>
                <a:gd name="T21" fmla="*/ 216 h 854"/>
                <a:gd name="T22" fmla="*/ 536 w 956"/>
                <a:gd name="T23" fmla="*/ 196 h 854"/>
                <a:gd name="T24" fmla="*/ 510 w 956"/>
                <a:gd name="T25" fmla="*/ 166 h 854"/>
                <a:gd name="T26" fmla="*/ 517 w 956"/>
                <a:gd name="T27" fmla="*/ 94 h 854"/>
                <a:gd name="T28" fmla="*/ 533 w 956"/>
                <a:gd name="T29" fmla="*/ 88 h 854"/>
                <a:gd name="T30" fmla="*/ 664 w 956"/>
                <a:gd name="T31" fmla="*/ 86 h 854"/>
                <a:gd name="T32" fmla="*/ 642 w 956"/>
                <a:gd name="T33" fmla="*/ 8 h 854"/>
                <a:gd name="T34" fmla="*/ 525 w 956"/>
                <a:gd name="T35" fmla="*/ 19 h 854"/>
                <a:gd name="T36" fmla="*/ 471 w 956"/>
                <a:gd name="T37" fmla="*/ 1 h 854"/>
                <a:gd name="T38" fmla="*/ 415 w 956"/>
                <a:gd name="T39" fmla="*/ 22 h 854"/>
                <a:gd name="T40" fmla="*/ 293 w 956"/>
                <a:gd name="T41" fmla="*/ 19 h 854"/>
                <a:gd name="T42" fmla="*/ 279 w 956"/>
                <a:gd name="T43" fmla="*/ 96 h 854"/>
                <a:gd name="T44" fmla="*/ 414 w 956"/>
                <a:gd name="T45" fmla="*/ 92 h 854"/>
                <a:gd name="T46" fmla="*/ 431 w 956"/>
                <a:gd name="T47" fmla="*/ 98 h 854"/>
                <a:gd name="T48" fmla="*/ 435 w 956"/>
                <a:gd name="T49" fmla="*/ 169 h 854"/>
                <a:gd name="T50" fmla="*/ 411 w 956"/>
                <a:gd name="T51" fmla="*/ 196 h 854"/>
                <a:gd name="T52" fmla="*/ 421 w 956"/>
                <a:gd name="T53" fmla="*/ 205 h 854"/>
                <a:gd name="T54" fmla="*/ 402 w 956"/>
                <a:gd name="T55" fmla="*/ 234 h 854"/>
                <a:gd name="T56" fmla="*/ 395 w 956"/>
                <a:gd name="T57" fmla="*/ 320 h 854"/>
                <a:gd name="T58" fmla="*/ 391 w 956"/>
                <a:gd name="T59" fmla="*/ 340 h 854"/>
                <a:gd name="T60" fmla="*/ 335 w 956"/>
                <a:gd name="T61" fmla="*/ 395 h 854"/>
                <a:gd name="T62" fmla="*/ 346 w 956"/>
                <a:gd name="T63" fmla="*/ 468 h 854"/>
                <a:gd name="T64" fmla="*/ 288 w 956"/>
                <a:gd name="T65" fmla="*/ 515 h 854"/>
                <a:gd name="T66" fmla="*/ 46 w 956"/>
                <a:gd name="T67" fmla="*/ 503 h 854"/>
                <a:gd name="T68" fmla="*/ 10 w 956"/>
                <a:gd name="T69" fmla="*/ 480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6" h="854">
                  <a:moveTo>
                    <a:pt x="10" y="480"/>
                  </a:moveTo>
                  <a:cubicBezTo>
                    <a:pt x="10" y="480"/>
                    <a:pt x="0" y="672"/>
                    <a:pt x="7" y="734"/>
                  </a:cubicBezTo>
                  <a:cubicBezTo>
                    <a:pt x="7" y="734"/>
                    <a:pt x="21" y="743"/>
                    <a:pt x="33" y="736"/>
                  </a:cubicBezTo>
                  <a:cubicBezTo>
                    <a:pt x="45" y="728"/>
                    <a:pt x="36" y="708"/>
                    <a:pt x="76" y="705"/>
                  </a:cubicBezTo>
                  <a:cubicBezTo>
                    <a:pt x="115" y="702"/>
                    <a:pt x="265" y="701"/>
                    <a:pt x="265" y="701"/>
                  </a:cubicBezTo>
                  <a:cubicBezTo>
                    <a:pt x="265" y="701"/>
                    <a:pt x="313" y="699"/>
                    <a:pt x="353" y="716"/>
                  </a:cubicBezTo>
                  <a:cubicBezTo>
                    <a:pt x="392" y="733"/>
                    <a:pt x="468" y="772"/>
                    <a:pt x="595" y="722"/>
                  </a:cubicBezTo>
                  <a:cubicBezTo>
                    <a:pt x="723" y="672"/>
                    <a:pt x="789" y="699"/>
                    <a:pt x="797" y="766"/>
                  </a:cubicBezTo>
                  <a:cubicBezTo>
                    <a:pt x="804" y="833"/>
                    <a:pt x="798" y="821"/>
                    <a:pt x="824" y="828"/>
                  </a:cubicBezTo>
                  <a:cubicBezTo>
                    <a:pt x="850" y="836"/>
                    <a:pt x="908" y="854"/>
                    <a:pt x="956" y="821"/>
                  </a:cubicBezTo>
                  <a:cubicBezTo>
                    <a:pt x="955" y="739"/>
                    <a:pt x="955" y="739"/>
                    <a:pt x="955" y="739"/>
                  </a:cubicBezTo>
                  <a:cubicBezTo>
                    <a:pt x="955" y="739"/>
                    <a:pt x="953" y="642"/>
                    <a:pt x="883" y="583"/>
                  </a:cubicBezTo>
                  <a:cubicBezTo>
                    <a:pt x="814" y="523"/>
                    <a:pt x="753" y="522"/>
                    <a:pt x="736" y="520"/>
                  </a:cubicBezTo>
                  <a:cubicBezTo>
                    <a:pt x="720" y="519"/>
                    <a:pt x="668" y="516"/>
                    <a:pt x="668" y="516"/>
                  </a:cubicBezTo>
                  <a:cubicBezTo>
                    <a:pt x="668" y="516"/>
                    <a:pt x="604" y="513"/>
                    <a:pt x="601" y="466"/>
                  </a:cubicBezTo>
                  <a:cubicBezTo>
                    <a:pt x="598" y="419"/>
                    <a:pt x="597" y="410"/>
                    <a:pt x="597" y="410"/>
                  </a:cubicBezTo>
                  <a:cubicBezTo>
                    <a:pt x="597" y="410"/>
                    <a:pt x="614" y="404"/>
                    <a:pt x="614" y="389"/>
                  </a:cubicBezTo>
                  <a:cubicBezTo>
                    <a:pt x="614" y="373"/>
                    <a:pt x="618" y="346"/>
                    <a:pt x="559" y="339"/>
                  </a:cubicBezTo>
                  <a:cubicBezTo>
                    <a:pt x="557" y="325"/>
                    <a:pt x="557" y="325"/>
                    <a:pt x="557" y="325"/>
                  </a:cubicBezTo>
                  <a:cubicBezTo>
                    <a:pt x="544" y="311"/>
                    <a:pt x="544" y="311"/>
                    <a:pt x="544" y="311"/>
                  </a:cubicBezTo>
                  <a:cubicBezTo>
                    <a:pt x="544" y="228"/>
                    <a:pt x="544" y="228"/>
                    <a:pt x="544" y="228"/>
                  </a:cubicBezTo>
                  <a:cubicBezTo>
                    <a:pt x="544" y="228"/>
                    <a:pt x="541" y="220"/>
                    <a:pt x="526" y="216"/>
                  </a:cubicBezTo>
                  <a:cubicBezTo>
                    <a:pt x="526" y="205"/>
                    <a:pt x="526" y="205"/>
                    <a:pt x="526" y="205"/>
                  </a:cubicBezTo>
                  <a:cubicBezTo>
                    <a:pt x="526" y="205"/>
                    <a:pt x="536" y="205"/>
                    <a:pt x="536" y="196"/>
                  </a:cubicBezTo>
                  <a:cubicBezTo>
                    <a:pt x="536" y="187"/>
                    <a:pt x="535" y="178"/>
                    <a:pt x="535" y="178"/>
                  </a:cubicBezTo>
                  <a:cubicBezTo>
                    <a:pt x="535" y="178"/>
                    <a:pt x="524" y="170"/>
                    <a:pt x="510" y="166"/>
                  </a:cubicBezTo>
                  <a:cubicBezTo>
                    <a:pt x="511" y="101"/>
                    <a:pt x="511" y="101"/>
                    <a:pt x="511" y="101"/>
                  </a:cubicBezTo>
                  <a:cubicBezTo>
                    <a:pt x="511" y="101"/>
                    <a:pt x="514" y="98"/>
                    <a:pt x="517" y="94"/>
                  </a:cubicBezTo>
                  <a:cubicBezTo>
                    <a:pt x="529" y="94"/>
                    <a:pt x="529" y="94"/>
                    <a:pt x="529" y="94"/>
                  </a:cubicBezTo>
                  <a:cubicBezTo>
                    <a:pt x="529" y="94"/>
                    <a:pt x="532" y="92"/>
                    <a:pt x="533" y="88"/>
                  </a:cubicBezTo>
                  <a:cubicBezTo>
                    <a:pt x="649" y="97"/>
                    <a:pt x="649" y="97"/>
                    <a:pt x="649" y="97"/>
                  </a:cubicBezTo>
                  <a:cubicBezTo>
                    <a:pt x="649" y="97"/>
                    <a:pt x="660" y="99"/>
                    <a:pt x="664" y="86"/>
                  </a:cubicBezTo>
                  <a:cubicBezTo>
                    <a:pt x="668" y="74"/>
                    <a:pt x="670" y="39"/>
                    <a:pt x="661" y="14"/>
                  </a:cubicBezTo>
                  <a:cubicBezTo>
                    <a:pt x="661" y="14"/>
                    <a:pt x="660" y="5"/>
                    <a:pt x="642" y="8"/>
                  </a:cubicBezTo>
                  <a:cubicBezTo>
                    <a:pt x="625" y="10"/>
                    <a:pt x="531" y="24"/>
                    <a:pt x="531" y="24"/>
                  </a:cubicBezTo>
                  <a:cubicBezTo>
                    <a:pt x="531" y="24"/>
                    <a:pt x="530" y="19"/>
                    <a:pt x="525" y="19"/>
                  </a:cubicBezTo>
                  <a:cubicBezTo>
                    <a:pt x="519" y="19"/>
                    <a:pt x="514" y="19"/>
                    <a:pt x="514" y="19"/>
                  </a:cubicBezTo>
                  <a:cubicBezTo>
                    <a:pt x="514" y="19"/>
                    <a:pt x="502" y="2"/>
                    <a:pt x="471" y="1"/>
                  </a:cubicBezTo>
                  <a:cubicBezTo>
                    <a:pt x="439" y="0"/>
                    <a:pt x="430" y="21"/>
                    <a:pt x="430" y="21"/>
                  </a:cubicBezTo>
                  <a:cubicBezTo>
                    <a:pt x="415" y="22"/>
                    <a:pt x="415" y="22"/>
                    <a:pt x="415" y="22"/>
                  </a:cubicBezTo>
                  <a:cubicBezTo>
                    <a:pt x="415" y="22"/>
                    <a:pt x="412" y="25"/>
                    <a:pt x="412" y="28"/>
                  </a:cubicBezTo>
                  <a:cubicBezTo>
                    <a:pt x="293" y="19"/>
                    <a:pt x="293" y="19"/>
                    <a:pt x="293" y="19"/>
                  </a:cubicBezTo>
                  <a:cubicBezTo>
                    <a:pt x="293" y="19"/>
                    <a:pt x="281" y="17"/>
                    <a:pt x="278" y="29"/>
                  </a:cubicBezTo>
                  <a:cubicBezTo>
                    <a:pt x="275" y="41"/>
                    <a:pt x="274" y="77"/>
                    <a:pt x="279" y="96"/>
                  </a:cubicBezTo>
                  <a:cubicBezTo>
                    <a:pt x="284" y="116"/>
                    <a:pt x="301" y="110"/>
                    <a:pt x="310" y="108"/>
                  </a:cubicBezTo>
                  <a:cubicBezTo>
                    <a:pt x="320" y="105"/>
                    <a:pt x="414" y="92"/>
                    <a:pt x="414" y="92"/>
                  </a:cubicBezTo>
                  <a:cubicBezTo>
                    <a:pt x="414" y="92"/>
                    <a:pt x="413" y="98"/>
                    <a:pt x="419" y="98"/>
                  </a:cubicBezTo>
                  <a:cubicBezTo>
                    <a:pt x="426" y="98"/>
                    <a:pt x="431" y="98"/>
                    <a:pt x="431" y="98"/>
                  </a:cubicBezTo>
                  <a:cubicBezTo>
                    <a:pt x="431" y="98"/>
                    <a:pt x="433" y="103"/>
                    <a:pt x="435" y="103"/>
                  </a:cubicBezTo>
                  <a:cubicBezTo>
                    <a:pt x="435" y="169"/>
                    <a:pt x="435" y="169"/>
                    <a:pt x="435" y="169"/>
                  </a:cubicBezTo>
                  <a:cubicBezTo>
                    <a:pt x="435" y="169"/>
                    <a:pt x="412" y="169"/>
                    <a:pt x="411" y="179"/>
                  </a:cubicBezTo>
                  <a:cubicBezTo>
                    <a:pt x="411" y="189"/>
                    <a:pt x="411" y="196"/>
                    <a:pt x="411" y="196"/>
                  </a:cubicBezTo>
                  <a:cubicBezTo>
                    <a:pt x="411" y="196"/>
                    <a:pt x="409" y="200"/>
                    <a:pt x="415" y="202"/>
                  </a:cubicBezTo>
                  <a:cubicBezTo>
                    <a:pt x="420" y="204"/>
                    <a:pt x="421" y="205"/>
                    <a:pt x="421" y="205"/>
                  </a:cubicBezTo>
                  <a:cubicBezTo>
                    <a:pt x="421" y="219"/>
                    <a:pt x="421" y="219"/>
                    <a:pt x="421" y="219"/>
                  </a:cubicBezTo>
                  <a:cubicBezTo>
                    <a:pt x="421" y="219"/>
                    <a:pt x="402" y="221"/>
                    <a:pt x="402" y="234"/>
                  </a:cubicBezTo>
                  <a:cubicBezTo>
                    <a:pt x="402" y="247"/>
                    <a:pt x="402" y="317"/>
                    <a:pt x="402" y="317"/>
                  </a:cubicBezTo>
                  <a:cubicBezTo>
                    <a:pt x="395" y="320"/>
                    <a:pt x="395" y="320"/>
                    <a:pt x="395" y="320"/>
                  </a:cubicBezTo>
                  <a:cubicBezTo>
                    <a:pt x="392" y="324"/>
                    <a:pt x="392" y="324"/>
                    <a:pt x="392" y="324"/>
                  </a:cubicBezTo>
                  <a:cubicBezTo>
                    <a:pt x="391" y="340"/>
                    <a:pt x="391" y="340"/>
                    <a:pt x="391" y="340"/>
                  </a:cubicBezTo>
                  <a:cubicBezTo>
                    <a:pt x="391" y="340"/>
                    <a:pt x="335" y="347"/>
                    <a:pt x="335" y="364"/>
                  </a:cubicBezTo>
                  <a:cubicBezTo>
                    <a:pt x="335" y="382"/>
                    <a:pt x="335" y="395"/>
                    <a:pt x="335" y="395"/>
                  </a:cubicBezTo>
                  <a:cubicBezTo>
                    <a:pt x="335" y="395"/>
                    <a:pt x="334" y="402"/>
                    <a:pt x="345" y="407"/>
                  </a:cubicBezTo>
                  <a:cubicBezTo>
                    <a:pt x="346" y="468"/>
                    <a:pt x="346" y="468"/>
                    <a:pt x="346" y="468"/>
                  </a:cubicBezTo>
                  <a:cubicBezTo>
                    <a:pt x="346" y="468"/>
                    <a:pt x="347" y="491"/>
                    <a:pt x="336" y="499"/>
                  </a:cubicBezTo>
                  <a:cubicBezTo>
                    <a:pt x="324" y="508"/>
                    <a:pt x="306" y="515"/>
                    <a:pt x="288" y="515"/>
                  </a:cubicBezTo>
                  <a:cubicBezTo>
                    <a:pt x="270" y="515"/>
                    <a:pt x="73" y="517"/>
                    <a:pt x="73" y="517"/>
                  </a:cubicBezTo>
                  <a:cubicBezTo>
                    <a:pt x="73" y="517"/>
                    <a:pt x="51" y="515"/>
                    <a:pt x="46" y="503"/>
                  </a:cubicBezTo>
                  <a:cubicBezTo>
                    <a:pt x="42" y="491"/>
                    <a:pt x="33" y="483"/>
                    <a:pt x="33" y="483"/>
                  </a:cubicBezTo>
                  <a:cubicBezTo>
                    <a:pt x="10" y="480"/>
                    <a:pt x="10" y="480"/>
                    <a:pt x="10" y="480"/>
                  </a:cubicBezTo>
                </a:path>
              </a:pathLst>
            </a:custGeom>
            <a:solidFill>
              <a:srgbClr val="005587"/>
            </a:solidFill>
            <a:ln>
              <a:noFill/>
            </a:ln>
            <a:effec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170" name="Freeform 88">
              <a:extLst>
                <a:ext uri="{FF2B5EF4-FFF2-40B4-BE49-F238E27FC236}">
                  <a16:creationId xmlns:a16="http://schemas.microsoft.com/office/drawing/2014/main" id="{C9AB08AC-DF77-4552-9440-9761ED352905}"/>
                </a:ext>
              </a:extLst>
            </p:cNvPr>
            <p:cNvSpPr>
              <a:spLocks noChangeAspect="1"/>
            </p:cNvSpPr>
            <p:nvPr/>
          </p:nvSpPr>
          <p:spPr bwMode="auto">
            <a:xfrm flipH="1">
              <a:off x="2608971" y="3847280"/>
              <a:ext cx="648465" cy="866479"/>
            </a:xfrm>
            <a:custGeom>
              <a:avLst/>
              <a:gdLst>
                <a:gd name="T0" fmla="*/ 8 w 594"/>
                <a:gd name="T1" fmla="*/ 547 h 804"/>
                <a:gd name="T2" fmla="*/ 273 w 594"/>
                <a:gd name="T3" fmla="*/ 794 h 804"/>
                <a:gd name="T4" fmla="*/ 582 w 594"/>
                <a:gd name="T5" fmla="*/ 563 h 804"/>
                <a:gd name="T6" fmla="*/ 282 w 594"/>
                <a:gd name="T7" fmla="*/ 0 h 804"/>
                <a:gd name="T8" fmla="*/ 8 w 594"/>
                <a:gd name="T9" fmla="*/ 547 h 804"/>
              </a:gdLst>
              <a:ahLst/>
              <a:cxnLst>
                <a:cxn ang="0">
                  <a:pos x="T0" y="T1"/>
                </a:cxn>
                <a:cxn ang="0">
                  <a:pos x="T2" y="T3"/>
                </a:cxn>
                <a:cxn ang="0">
                  <a:pos x="T4" y="T5"/>
                </a:cxn>
                <a:cxn ang="0">
                  <a:pos x="T6" y="T7"/>
                </a:cxn>
                <a:cxn ang="0">
                  <a:pos x="T8" y="T9"/>
                </a:cxn>
              </a:cxnLst>
              <a:rect l="0" t="0" r="r" b="b"/>
              <a:pathLst>
                <a:path w="594" h="804">
                  <a:moveTo>
                    <a:pt x="8" y="547"/>
                  </a:moveTo>
                  <a:cubicBezTo>
                    <a:pt x="0" y="674"/>
                    <a:pt x="111" y="785"/>
                    <a:pt x="273" y="794"/>
                  </a:cubicBezTo>
                  <a:cubicBezTo>
                    <a:pt x="435" y="804"/>
                    <a:pt x="574" y="690"/>
                    <a:pt x="582" y="563"/>
                  </a:cubicBezTo>
                  <a:cubicBezTo>
                    <a:pt x="594" y="362"/>
                    <a:pt x="270" y="187"/>
                    <a:pt x="282" y="0"/>
                  </a:cubicBezTo>
                  <a:cubicBezTo>
                    <a:pt x="267" y="248"/>
                    <a:pt x="15" y="420"/>
                    <a:pt x="8" y="547"/>
                  </a:cubicBezTo>
                  <a:close/>
                </a:path>
              </a:pathLst>
            </a:custGeom>
            <a:solidFill>
              <a:srgbClr val="62B5E5"/>
            </a:solidFill>
            <a:ln>
              <a:noFill/>
            </a:ln>
            <a:effectLst/>
          </p:spPr>
          <p:txBody>
            <a:bodyPr vert="horz" wrap="square" lIns="91440" tIns="45720" rIns="91440" bIns="45720" numCol="1" anchor="b" anchorCtr="0" compatLnSpc="1">
              <a:prstTxWarp prst="textNoShape">
                <a:avLst/>
              </a:prstTxWarp>
            </a:bodyPr>
            <a:lstStyle/>
            <a:p>
              <a:pPr algn="ctr">
                <a:lnSpc>
                  <a:spcPts val="800"/>
                </a:lnSpc>
              </a:pPr>
              <a:r>
                <a:rPr lang="en-US" sz="1050" dirty="0">
                  <a:solidFill>
                    <a:schemeClr val="bg1"/>
                  </a:solidFill>
                  <a:latin typeface="+mj-lt"/>
                </a:rPr>
                <a:t>+25%       </a:t>
              </a:r>
              <a:r>
                <a:rPr lang="en-US" sz="700" dirty="0">
                  <a:solidFill>
                    <a:schemeClr val="bg1"/>
                  </a:solidFill>
                  <a:latin typeface="+mj-lt"/>
                </a:rPr>
                <a:t>on base LTP capex spend</a:t>
              </a:r>
              <a:endParaRPr lang="en-US" sz="200" dirty="0">
                <a:solidFill>
                  <a:schemeClr val="bg1"/>
                </a:solidFill>
                <a:latin typeface="+mj-lt"/>
              </a:endParaRPr>
            </a:p>
          </p:txBody>
        </p:sp>
        <p:sp>
          <p:nvSpPr>
            <p:cNvPr id="174" name="Text Box 10">
              <a:extLst>
                <a:ext uri="{FF2B5EF4-FFF2-40B4-BE49-F238E27FC236}">
                  <a16:creationId xmlns:a16="http://schemas.microsoft.com/office/drawing/2014/main" id="{16C1B708-6E9F-4D4B-A8B8-573A94EB7A65}"/>
                </a:ext>
              </a:extLst>
            </p:cNvPr>
            <p:cNvSpPr txBox="1">
              <a:spLocks noChangeArrowheads="1"/>
            </p:cNvSpPr>
            <p:nvPr/>
          </p:nvSpPr>
          <p:spPr bwMode="auto">
            <a:xfrm flipH="1">
              <a:off x="2904634" y="3447466"/>
              <a:ext cx="755622" cy="277820"/>
            </a:xfrm>
            <a:prstGeom prst="rect">
              <a:avLst/>
            </a:prstGeom>
            <a:noFill/>
            <a:ln w="9525">
              <a:noFill/>
              <a:miter lim="800000"/>
              <a:headEnd/>
              <a:tailEnd/>
            </a:ln>
            <a:effectLst>
              <a:outerShdw blurRad="63500" sx="102000" sy="102000" algn="ctr" rotWithShape="0">
                <a:prstClr val="black">
                  <a:alpha val="40000"/>
                </a:prstClr>
              </a:outerShdw>
            </a:effectLst>
          </p:spPr>
          <p:txBody>
            <a:bodyPr wrap="square" lIns="45720" tIns="22860" rIns="45720" bIns="22860">
              <a:spAutoFit/>
            </a:bodyPr>
            <a:lstStyle/>
            <a:p>
              <a:pPr algn="ctr" defTabSz="1088232"/>
              <a:r>
                <a:rPr lang="en-US" altLang="zh-CN" sz="1400" b="1" dirty="0">
                  <a:solidFill>
                    <a:schemeClr val="bg1"/>
                  </a:solidFill>
                  <a:latin typeface="+mj-lt"/>
                  <a:ea typeface="Open Sans Light" pitchFamily="34" charset="0"/>
                  <a:cs typeface="Open Sans Light" pitchFamily="34" charset="0"/>
                </a:rPr>
                <a:t>$</a:t>
              </a:r>
              <a:endParaRPr lang="en-US" sz="1050" b="1" dirty="0">
                <a:solidFill>
                  <a:schemeClr val="bg1"/>
                </a:solidFill>
                <a:latin typeface="+mj-lt"/>
                <a:ea typeface="Open Sans Light" pitchFamily="34" charset="0"/>
                <a:cs typeface="Open Sans Light" pitchFamily="34" charset="0"/>
              </a:endParaRPr>
            </a:p>
          </p:txBody>
        </p:sp>
      </p:grpSp>
      <p:sp>
        <p:nvSpPr>
          <p:cNvPr id="177" name="Text Box 10">
            <a:extLst>
              <a:ext uri="{FF2B5EF4-FFF2-40B4-BE49-F238E27FC236}">
                <a16:creationId xmlns:a16="http://schemas.microsoft.com/office/drawing/2014/main" id="{04D91AD2-D472-4ECE-A90B-D167A47FC329}"/>
              </a:ext>
            </a:extLst>
          </p:cNvPr>
          <p:cNvSpPr txBox="1">
            <a:spLocks noChangeArrowheads="1"/>
          </p:cNvSpPr>
          <p:nvPr/>
        </p:nvSpPr>
        <p:spPr bwMode="auto">
          <a:xfrm flipH="1">
            <a:off x="977706" y="4084264"/>
            <a:ext cx="575176" cy="292388"/>
          </a:xfrm>
          <a:prstGeom prst="rect">
            <a:avLst/>
          </a:prstGeom>
          <a:noFill/>
          <a:ln w="9525">
            <a:noFill/>
            <a:miter lim="800000"/>
            <a:headEnd/>
            <a:tailEnd/>
          </a:ln>
          <a:effectLst>
            <a:outerShdw blurRad="63500" sx="102000" sy="102000" algn="ctr" rotWithShape="0">
              <a:prstClr val="black">
                <a:alpha val="40000"/>
              </a:prstClr>
            </a:outerShdw>
          </a:effectLst>
        </p:spPr>
        <p:txBody>
          <a:bodyPr wrap="square" lIns="45720" tIns="22860" rIns="45720" bIns="22860">
            <a:spAutoFit/>
          </a:bodyPr>
          <a:lstStyle/>
          <a:p>
            <a:pPr algn="ctr" defTabSz="1088232"/>
            <a:r>
              <a:rPr lang="en-GB" altLang="zh-CN" sz="1600" b="1">
                <a:solidFill>
                  <a:schemeClr val="bg1"/>
                </a:solidFill>
                <a:latin typeface="+mj-lt"/>
                <a:ea typeface="Open Sans Light" pitchFamily="34" charset="0"/>
                <a:cs typeface="Open Sans Light" pitchFamily="34" charset="0"/>
              </a:rPr>
              <a:t>$</a:t>
            </a:r>
            <a:endParaRPr lang="en-GB" sz="1100" b="1" dirty="0">
              <a:solidFill>
                <a:schemeClr val="bg1"/>
              </a:solidFill>
              <a:latin typeface="+mj-lt"/>
              <a:ea typeface="Open Sans Light" pitchFamily="34" charset="0"/>
              <a:cs typeface="Open Sans Light" pitchFamily="34" charset="0"/>
            </a:endParaRPr>
          </a:p>
        </p:txBody>
      </p:sp>
      <p:cxnSp>
        <p:nvCxnSpPr>
          <p:cNvPr id="180" name="Straight Connector 179">
            <a:extLst>
              <a:ext uri="{FF2B5EF4-FFF2-40B4-BE49-F238E27FC236}">
                <a16:creationId xmlns:a16="http://schemas.microsoft.com/office/drawing/2014/main" id="{DEF62A2A-DF51-446E-BC5C-894725ADA1CE}"/>
              </a:ext>
            </a:extLst>
          </p:cNvPr>
          <p:cNvCxnSpPr>
            <a:cxnSpLocks/>
          </p:cNvCxnSpPr>
          <p:nvPr/>
        </p:nvCxnSpPr>
        <p:spPr>
          <a:xfrm>
            <a:off x="4197191" y="1376424"/>
            <a:ext cx="0" cy="4932000"/>
          </a:xfrm>
          <a:prstGeom prst="line">
            <a:avLst/>
          </a:prstGeom>
          <a:ln w="28575">
            <a:solidFill>
              <a:srgbClr val="0076A8"/>
            </a:solidFill>
            <a:prstDash val="solid"/>
          </a:ln>
        </p:spPr>
        <p:style>
          <a:lnRef idx="1">
            <a:schemeClr val="accent1"/>
          </a:lnRef>
          <a:fillRef idx="0">
            <a:schemeClr val="accent1"/>
          </a:fillRef>
          <a:effectRef idx="0">
            <a:schemeClr val="accent1"/>
          </a:effectRef>
          <a:fontRef idx="minor">
            <a:schemeClr val="tx1"/>
          </a:fontRef>
        </p:style>
      </p:cxnSp>
      <p:graphicFrame>
        <p:nvGraphicFramePr>
          <p:cNvPr id="183" name="Chart 182">
            <a:extLst>
              <a:ext uri="{FF2B5EF4-FFF2-40B4-BE49-F238E27FC236}">
                <a16:creationId xmlns:a16="http://schemas.microsoft.com/office/drawing/2014/main" id="{765903B7-9A9B-4547-BFBF-76918EB84CB0}"/>
              </a:ext>
            </a:extLst>
          </p:cNvPr>
          <p:cNvGraphicFramePr>
            <a:graphicFrameLocks/>
          </p:cNvGraphicFramePr>
          <p:nvPr>
            <p:extLst>
              <p:ext uri="{D42A27DB-BD31-4B8C-83A1-F6EECF244321}">
                <p14:modId xmlns:p14="http://schemas.microsoft.com/office/powerpoint/2010/main" val="1804602116"/>
              </p:ext>
            </p:extLst>
          </p:nvPr>
        </p:nvGraphicFramePr>
        <p:xfrm>
          <a:off x="4358783" y="4376652"/>
          <a:ext cx="3428210" cy="2047918"/>
        </p:xfrm>
        <a:graphic>
          <a:graphicData uri="http://schemas.openxmlformats.org/drawingml/2006/chart">
            <c:chart xmlns:c="http://schemas.openxmlformats.org/drawingml/2006/chart" xmlns:r="http://schemas.openxmlformats.org/officeDocument/2006/relationships" r:id="rId3"/>
          </a:graphicData>
        </a:graphic>
      </p:graphicFrame>
      <p:sp>
        <p:nvSpPr>
          <p:cNvPr id="187" name="Text Box 10">
            <a:extLst>
              <a:ext uri="{FF2B5EF4-FFF2-40B4-BE49-F238E27FC236}">
                <a16:creationId xmlns:a16="http://schemas.microsoft.com/office/drawing/2014/main" id="{FF7BC697-4D8A-489A-B2C4-D24E41442B94}"/>
              </a:ext>
            </a:extLst>
          </p:cNvPr>
          <p:cNvSpPr txBox="1">
            <a:spLocks noChangeArrowheads="1"/>
          </p:cNvSpPr>
          <p:nvPr/>
        </p:nvSpPr>
        <p:spPr bwMode="auto">
          <a:xfrm flipH="1">
            <a:off x="585967" y="2006000"/>
            <a:ext cx="3528000" cy="1061829"/>
          </a:xfrm>
          <a:prstGeom prst="rect">
            <a:avLst/>
          </a:prstGeom>
          <a:noFill/>
          <a:ln w="9525">
            <a:noFill/>
            <a:miter lim="800000"/>
            <a:headEnd/>
            <a:tailEnd/>
          </a:ln>
        </p:spPr>
        <p:txBody>
          <a:bodyPr wrap="square" lIns="45720" tIns="22860" rIns="45720" bIns="22860">
            <a:spAutoFit/>
          </a:bodyPr>
          <a:lstStyle/>
          <a:p>
            <a:pPr defTabSz="1088232"/>
            <a:r>
              <a:rPr lang="en-GB" sz="1100">
                <a:latin typeface="+mj-lt"/>
                <a:ea typeface="Open Sans Light" pitchFamily="34" charset="0"/>
                <a:cs typeface="Open Sans Light" pitchFamily="34" charset="0"/>
              </a:rPr>
              <a:t>The current modelling is based on LTP expenditure (adjusted down by 14% to reflect historic underspend of capex)</a:t>
            </a:r>
          </a:p>
          <a:p>
            <a:pPr defTabSz="1088232"/>
            <a:endParaRPr lang="en-GB" sz="1100">
              <a:latin typeface="+mj-lt"/>
              <a:ea typeface="Open Sans Light" pitchFamily="34" charset="0"/>
              <a:cs typeface="Open Sans Light" pitchFamily="34" charset="0"/>
            </a:endParaRPr>
          </a:p>
          <a:p>
            <a:pPr defTabSz="1088232"/>
            <a:r>
              <a:rPr lang="en-GB" sz="1100" b="1">
                <a:latin typeface="+mj-lt"/>
                <a:ea typeface="Open Sans Light" pitchFamily="34" charset="0"/>
                <a:cs typeface="Open Sans Light" pitchFamily="34" charset="0"/>
              </a:rPr>
              <a:t>Capex or Opex Uplift Scenario </a:t>
            </a:r>
          </a:p>
          <a:p>
            <a:pPr defTabSz="1088232"/>
            <a:r>
              <a:rPr lang="en-GB" sz="1100">
                <a:latin typeface="+mj-lt"/>
                <a:ea typeface="Open Sans Light" pitchFamily="34" charset="0"/>
                <a:cs typeface="Open Sans Light" pitchFamily="34" charset="0"/>
              </a:rPr>
              <a:t>We have modelled the scenario below to show the potential impact of a one-off increase in opex and capex over time</a:t>
            </a:r>
            <a:endParaRPr lang="en-GB" sz="1100" dirty="0">
              <a:latin typeface="+mj-lt"/>
              <a:ea typeface="Open Sans Light" pitchFamily="34" charset="0"/>
              <a:cs typeface="Open Sans Light" pitchFamily="34" charset="0"/>
            </a:endParaRPr>
          </a:p>
        </p:txBody>
      </p:sp>
      <p:sp>
        <p:nvSpPr>
          <p:cNvPr id="190" name="Text Box 10">
            <a:extLst>
              <a:ext uri="{FF2B5EF4-FFF2-40B4-BE49-F238E27FC236}">
                <a16:creationId xmlns:a16="http://schemas.microsoft.com/office/drawing/2014/main" id="{75EAB4DF-F69C-4F04-A1DD-21CC2BE1831D}"/>
              </a:ext>
            </a:extLst>
          </p:cNvPr>
          <p:cNvSpPr txBox="1">
            <a:spLocks noChangeArrowheads="1"/>
          </p:cNvSpPr>
          <p:nvPr/>
        </p:nvSpPr>
        <p:spPr bwMode="auto">
          <a:xfrm flipH="1">
            <a:off x="4319565" y="2006000"/>
            <a:ext cx="3589797" cy="1554272"/>
          </a:xfrm>
          <a:prstGeom prst="rect">
            <a:avLst/>
          </a:prstGeom>
          <a:noFill/>
          <a:ln w="9525">
            <a:noFill/>
            <a:miter lim="800000"/>
            <a:headEnd/>
            <a:tailEnd/>
          </a:ln>
        </p:spPr>
        <p:txBody>
          <a:bodyPr wrap="square" lIns="45720" tIns="22860" rIns="45720" bIns="22860">
            <a:spAutoFit/>
          </a:bodyPr>
          <a:lstStyle/>
          <a:p>
            <a:pPr defTabSz="1088232">
              <a:spcAft>
                <a:spcPts val="600"/>
              </a:spcAft>
            </a:pPr>
            <a:r>
              <a:rPr lang="en-GB" sz="1100">
                <a:latin typeface="+mj-lt"/>
                <a:ea typeface="Open Sans Light" pitchFamily="34" charset="0"/>
                <a:cs typeface="Open Sans Light" pitchFamily="34" charset="0"/>
              </a:rPr>
              <a:t>A change in capex profile can be applied over a transition period (e.g. post reform scenario, including WSE formation and updated programme of works)</a:t>
            </a:r>
          </a:p>
          <a:p>
            <a:pPr defTabSz="1088232">
              <a:spcAft>
                <a:spcPts val="600"/>
              </a:spcAft>
            </a:pPr>
            <a:r>
              <a:rPr lang="en-GB" sz="1100" b="1">
                <a:latin typeface="+mj-lt"/>
                <a:ea typeface="Open Sans Light" pitchFamily="34" charset="0"/>
                <a:cs typeface="Open Sans Light" pitchFamily="34" charset="0"/>
              </a:rPr>
              <a:t>Change in Capex or Opex profile as a result of reform</a:t>
            </a:r>
          </a:p>
          <a:p>
            <a:pPr defTabSz="1088232">
              <a:spcAft>
                <a:spcPts val="600"/>
              </a:spcAft>
            </a:pPr>
            <a:r>
              <a:rPr lang="en-GB" sz="1100">
                <a:latin typeface="+mj-lt"/>
                <a:ea typeface="Open Sans Light" pitchFamily="34" charset="0"/>
                <a:cs typeface="Open Sans Light" pitchFamily="34" charset="0"/>
              </a:rPr>
              <a:t>We anticipate a period of steady spend in the years either side of water reform, with spend increasing once the new entities have been formed and after the work programmes are agreed. </a:t>
            </a:r>
            <a:endParaRPr lang="en-GB" sz="1100" dirty="0">
              <a:latin typeface="+mj-lt"/>
              <a:ea typeface="Open Sans Light" pitchFamily="34" charset="0"/>
              <a:cs typeface="Open Sans Light" pitchFamily="34" charset="0"/>
            </a:endParaRPr>
          </a:p>
        </p:txBody>
      </p:sp>
      <p:sp>
        <p:nvSpPr>
          <p:cNvPr id="193" name="Text Box 10">
            <a:extLst>
              <a:ext uri="{FF2B5EF4-FFF2-40B4-BE49-F238E27FC236}">
                <a16:creationId xmlns:a16="http://schemas.microsoft.com/office/drawing/2014/main" id="{D3016981-493D-44C1-BA73-711D485471ED}"/>
              </a:ext>
            </a:extLst>
          </p:cNvPr>
          <p:cNvSpPr txBox="1">
            <a:spLocks noChangeArrowheads="1"/>
          </p:cNvSpPr>
          <p:nvPr/>
        </p:nvSpPr>
        <p:spPr bwMode="auto">
          <a:xfrm flipH="1">
            <a:off x="8141491" y="2006000"/>
            <a:ext cx="3548858" cy="1384995"/>
          </a:xfrm>
          <a:prstGeom prst="rect">
            <a:avLst/>
          </a:prstGeom>
          <a:noFill/>
          <a:ln w="9525">
            <a:noFill/>
            <a:miter lim="800000"/>
            <a:headEnd/>
            <a:tailEnd/>
          </a:ln>
        </p:spPr>
        <p:txBody>
          <a:bodyPr wrap="square" lIns="45720" tIns="22860" rIns="45720" bIns="22860">
            <a:spAutoFit/>
          </a:bodyPr>
          <a:lstStyle/>
          <a:p>
            <a:pPr defTabSz="1088232">
              <a:spcAft>
                <a:spcPts val="600"/>
              </a:spcAft>
            </a:pPr>
            <a:r>
              <a:rPr lang="en-GB" sz="1100">
                <a:latin typeface="+mj-lt"/>
                <a:ea typeface="Open Sans Light" pitchFamily="34" charset="0"/>
                <a:cs typeface="Open Sans Light" pitchFamily="34" charset="0"/>
              </a:rPr>
              <a:t>The model includes the functionality to flex resourcing efficiency at provincial and rural councils relative to metro councils. </a:t>
            </a:r>
          </a:p>
          <a:p>
            <a:pPr defTabSz="1088232">
              <a:spcAft>
                <a:spcPts val="600"/>
              </a:spcAft>
            </a:pPr>
            <a:r>
              <a:rPr lang="en-GB" sz="1100" b="1">
                <a:latin typeface="+mj-lt"/>
                <a:ea typeface="Open Sans Light" pitchFamily="34" charset="0"/>
                <a:cs typeface="Open Sans Light" pitchFamily="34" charset="0"/>
              </a:rPr>
              <a:t>Change in workforce profiles for each Council or WSE entity</a:t>
            </a:r>
            <a:endParaRPr lang="en-GB" sz="1100">
              <a:latin typeface="+mj-lt"/>
              <a:ea typeface="Open Sans Light" pitchFamily="34" charset="0"/>
              <a:cs typeface="Open Sans Light" pitchFamily="34" charset="0"/>
            </a:endParaRPr>
          </a:p>
          <a:p>
            <a:pPr defTabSz="1088232">
              <a:spcAft>
                <a:spcPts val="600"/>
              </a:spcAft>
            </a:pPr>
            <a:r>
              <a:rPr lang="en-GB" sz="1100">
                <a:latin typeface="+mj-lt"/>
                <a:ea typeface="Open Sans Light" pitchFamily="34" charset="0"/>
                <a:cs typeface="Open Sans Light" pitchFamily="34" charset="0"/>
              </a:rPr>
              <a:t>Different workforce profiles may be required at provincial and rural councils relative to the same level of spend or activity at metro councils</a:t>
            </a:r>
            <a:endParaRPr lang="en-GB" sz="1100" dirty="0">
              <a:latin typeface="+mj-lt"/>
              <a:ea typeface="Open Sans Light" pitchFamily="34" charset="0"/>
              <a:cs typeface="Open Sans Light" pitchFamily="34" charset="0"/>
            </a:endParaRPr>
          </a:p>
        </p:txBody>
      </p:sp>
      <p:grpSp>
        <p:nvGrpSpPr>
          <p:cNvPr id="196" name="Group 195">
            <a:extLst>
              <a:ext uri="{FF2B5EF4-FFF2-40B4-BE49-F238E27FC236}">
                <a16:creationId xmlns:a16="http://schemas.microsoft.com/office/drawing/2014/main" id="{9D88E988-09A5-4506-B747-CDF1141B769F}"/>
              </a:ext>
            </a:extLst>
          </p:cNvPr>
          <p:cNvGrpSpPr/>
          <p:nvPr/>
        </p:nvGrpSpPr>
        <p:grpSpPr>
          <a:xfrm>
            <a:off x="469892" y="1314774"/>
            <a:ext cx="3589305" cy="432065"/>
            <a:chOff x="501043" y="1026285"/>
            <a:chExt cx="3589305" cy="432065"/>
          </a:xfrm>
        </p:grpSpPr>
        <p:sp>
          <p:nvSpPr>
            <p:cNvPr id="199" name="Text Placeholder 5">
              <a:extLst>
                <a:ext uri="{FF2B5EF4-FFF2-40B4-BE49-F238E27FC236}">
                  <a16:creationId xmlns:a16="http://schemas.microsoft.com/office/drawing/2014/main" id="{CA092685-7AAF-4EF4-A8CD-D7C0CFDCD856}"/>
                </a:ext>
              </a:extLst>
            </p:cNvPr>
            <p:cNvSpPr txBox="1">
              <a:spLocks noChangeAspect="1"/>
            </p:cNvSpPr>
            <p:nvPr/>
          </p:nvSpPr>
          <p:spPr>
            <a:xfrm>
              <a:off x="633036" y="1071317"/>
              <a:ext cx="3457312" cy="342000"/>
            </a:xfrm>
            <a:prstGeom prst="roundRect">
              <a:avLst/>
            </a:prstGeom>
            <a:solidFill>
              <a:srgbClr val="0076A8"/>
            </a:solidFill>
            <a:ln w="19050">
              <a:noFill/>
            </a:ln>
            <a:effectLst>
              <a:outerShdw blurRad="50800" dist="38100" dir="5400000" algn="t" rotWithShape="0">
                <a:prstClr val="black">
                  <a:alpha val="40000"/>
                </a:prstClr>
              </a:outerShdw>
            </a:effectLst>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358775">
                <a:spcBef>
                  <a:spcPts val="0"/>
                </a:spcBef>
              </a:pPr>
              <a:r>
                <a:rPr lang="en-GB" b="1" dirty="0">
                  <a:solidFill>
                    <a:schemeClr val="bg1"/>
                  </a:solidFill>
                  <a:latin typeface="Calibri Light" panose="020F0302020204030204" pitchFamily="34" charset="0"/>
                  <a:cs typeface="Calibri Light" panose="020F0302020204030204" pitchFamily="34" charset="0"/>
                </a:rPr>
                <a:t>Capex/opex uplift</a:t>
              </a:r>
            </a:p>
          </p:txBody>
        </p:sp>
        <p:grpSp>
          <p:nvGrpSpPr>
            <p:cNvPr id="202" name="Group 201">
              <a:extLst>
                <a:ext uri="{FF2B5EF4-FFF2-40B4-BE49-F238E27FC236}">
                  <a16:creationId xmlns:a16="http://schemas.microsoft.com/office/drawing/2014/main" id="{90B22651-E110-4F42-9ECE-8B55792D9620}"/>
                </a:ext>
              </a:extLst>
            </p:cNvPr>
            <p:cNvGrpSpPr>
              <a:grpSpLocks noChangeAspect="1"/>
            </p:cNvGrpSpPr>
            <p:nvPr/>
          </p:nvGrpSpPr>
          <p:grpSpPr>
            <a:xfrm>
              <a:off x="501043" y="1026285"/>
              <a:ext cx="429909" cy="432065"/>
              <a:chOff x="371242" y="1532492"/>
              <a:chExt cx="965299" cy="965299"/>
            </a:xfrm>
            <a:effectLst>
              <a:outerShdw blurRad="63500" sx="102000" sy="102000" algn="ctr" rotWithShape="0">
                <a:prstClr val="black">
                  <a:alpha val="40000"/>
                </a:prstClr>
              </a:outerShdw>
            </a:effectLst>
          </p:grpSpPr>
          <p:sp>
            <p:nvSpPr>
              <p:cNvPr id="205" name="Oval 204">
                <a:extLst>
                  <a:ext uri="{FF2B5EF4-FFF2-40B4-BE49-F238E27FC236}">
                    <a16:creationId xmlns:a16="http://schemas.microsoft.com/office/drawing/2014/main" id="{7D1AE2B3-9F16-4130-A488-18E58D28F0FC}"/>
                  </a:ext>
                </a:extLst>
              </p:cNvPr>
              <p:cNvSpPr/>
              <p:nvPr/>
            </p:nvSpPr>
            <p:spPr bwMode="gray">
              <a:xfrm>
                <a:off x="371242" y="1532492"/>
                <a:ext cx="965299" cy="965299"/>
              </a:xfrm>
              <a:prstGeom prst="ellipse">
                <a:avLst/>
              </a:prstGeom>
              <a:solidFill>
                <a:schemeClr val="bg1"/>
              </a:solidFill>
              <a:ln w="19050" algn="ctr">
                <a:noFill/>
                <a:miter lim="800000"/>
                <a:headEnd/>
                <a:tailEnd/>
              </a:ln>
              <a:effectLst/>
            </p:spPr>
            <p:txBody>
              <a:bodyPr wrap="square" lIns="65872" tIns="65872" rIns="65872" bIns="65872" rtlCol="0" anchor="ctr"/>
              <a:lstStyle/>
              <a:p>
                <a:pPr marL="0" marR="0" lvl="0" indent="0" algn="ctr" defTabSz="677585" rtl="0" eaLnBrk="1" fontAlgn="auto" latinLnBrk="0" hangingPunct="1">
                  <a:lnSpc>
                    <a:spcPct val="106000"/>
                  </a:lnSpc>
                  <a:spcBef>
                    <a:spcPts val="0"/>
                  </a:spcBef>
                  <a:spcAft>
                    <a:spcPts val="0"/>
                  </a:spcAft>
                  <a:buClrTx/>
                  <a:buSzTx/>
                  <a:buFontTx/>
                  <a:buNone/>
                  <a:tabLst/>
                  <a:defRPr/>
                </a:pPr>
                <a:endParaRPr kumimoji="0" lang="en-US" sz="1186" b="1" i="0" u="none" strike="noStrike" kern="1200" cap="none" spc="0" normalizeH="0" baseline="0" noProof="0" dirty="0">
                  <a:ln>
                    <a:noFill/>
                  </a:ln>
                  <a:solidFill>
                    <a:prstClr val="white"/>
                  </a:solidFill>
                  <a:effectLst/>
                  <a:uLnTx/>
                  <a:uFillTx/>
                  <a:latin typeface="Calibri"/>
                  <a:ea typeface="+mn-ea"/>
                  <a:cs typeface="+mn-cs"/>
                </a:endParaRPr>
              </a:p>
            </p:txBody>
          </p:sp>
          <p:sp>
            <p:nvSpPr>
              <p:cNvPr id="208" name="Oval 207">
                <a:extLst>
                  <a:ext uri="{FF2B5EF4-FFF2-40B4-BE49-F238E27FC236}">
                    <a16:creationId xmlns:a16="http://schemas.microsoft.com/office/drawing/2014/main" id="{6743A34D-37DB-4F99-AB5C-2CD83E2B1564}"/>
                  </a:ext>
                </a:extLst>
              </p:cNvPr>
              <p:cNvSpPr/>
              <p:nvPr/>
            </p:nvSpPr>
            <p:spPr bwMode="gray">
              <a:xfrm>
                <a:off x="469664" y="1635918"/>
                <a:ext cx="768452" cy="758448"/>
              </a:xfrm>
              <a:prstGeom prst="ellipse">
                <a:avLst/>
              </a:prstGeom>
              <a:solidFill>
                <a:srgbClr val="0076A8"/>
              </a:solidFill>
              <a:ln w="19050" algn="ctr">
                <a:noFill/>
                <a:miter lim="800000"/>
                <a:headEnd/>
                <a:tailEnd/>
              </a:ln>
              <a:effectLst/>
            </p:spPr>
            <p:txBody>
              <a:bodyPr wrap="square" lIns="65872" tIns="65872" rIns="65872" bIns="65872" rtlCol="0" anchor="ctr"/>
              <a:lstStyle/>
              <a:p>
                <a:pPr marL="0" marR="0" lvl="0" indent="0" algn="ctr" defTabSz="677585" rtl="0" eaLnBrk="1" fontAlgn="auto" latinLnBrk="0" hangingPunct="1">
                  <a:lnSpc>
                    <a:spcPct val="106000"/>
                  </a:lnSpc>
                  <a:spcBef>
                    <a:spcPts val="0"/>
                  </a:spcBef>
                  <a:spcAft>
                    <a:spcPts val="0"/>
                  </a:spcAft>
                  <a:buClrTx/>
                  <a:buSzTx/>
                  <a:buFontTx/>
                  <a:buNone/>
                  <a:tabLst/>
                  <a:defRPr/>
                </a:pPr>
                <a:endParaRPr kumimoji="0" lang="en-US" sz="1186" b="1" i="0" u="none" strike="noStrike" kern="1200" cap="none" spc="0" normalizeH="0" baseline="0" noProof="0" dirty="0">
                  <a:ln>
                    <a:noFill/>
                  </a:ln>
                  <a:solidFill>
                    <a:prstClr val="white"/>
                  </a:solidFill>
                  <a:effectLst/>
                  <a:uLnTx/>
                  <a:uFillTx/>
                  <a:latin typeface="Calibri"/>
                  <a:ea typeface="+mn-ea"/>
                  <a:cs typeface="+mn-cs"/>
                </a:endParaRPr>
              </a:p>
            </p:txBody>
          </p:sp>
          <p:sp>
            <p:nvSpPr>
              <p:cNvPr id="211" name="Oval 210">
                <a:extLst>
                  <a:ext uri="{FF2B5EF4-FFF2-40B4-BE49-F238E27FC236}">
                    <a16:creationId xmlns:a16="http://schemas.microsoft.com/office/drawing/2014/main" id="{5427E48B-B8CD-485B-945E-3941BC46A4DE}"/>
                  </a:ext>
                </a:extLst>
              </p:cNvPr>
              <p:cNvSpPr/>
              <p:nvPr/>
            </p:nvSpPr>
            <p:spPr bwMode="gray">
              <a:xfrm>
                <a:off x="557021" y="1722139"/>
                <a:ext cx="593736" cy="586006"/>
              </a:xfrm>
              <a:prstGeom prst="ellipse">
                <a:avLst/>
              </a:prstGeom>
              <a:solidFill>
                <a:schemeClr val="bg1"/>
              </a:solidFill>
              <a:ln w="19050" algn="ctr">
                <a:noFill/>
                <a:miter lim="800000"/>
                <a:headEnd/>
                <a:tailEnd/>
              </a:ln>
            </p:spPr>
            <p:txBody>
              <a:bodyPr wrap="square" lIns="0" tIns="65872" rIns="0" bIns="65872" rtlCol="0" anchor="ctr"/>
              <a:lstStyle/>
              <a:p>
                <a:pPr marL="0" marR="0" lvl="0" indent="0" algn="ctr" defTabSz="677585" rtl="0" eaLnBrk="1" fontAlgn="auto" latinLnBrk="0" hangingPunct="1">
                  <a:lnSpc>
                    <a:spcPct val="106000"/>
                  </a:lnSpc>
                  <a:spcBef>
                    <a:spcPts val="0"/>
                  </a:spcBef>
                  <a:spcAft>
                    <a:spcPts val="0"/>
                  </a:spcAft>
                  <a:buClrTx/>
                  <a:buSzTx/>
                  <a:buFontTx/>
                  <a:buNone/>
                  <a:tabLst/>
                  <a:defRPr/>
                </a:pPr>
                <a:r>
                  <a:rPr kumimoji="0" lang="en-US" sz="1186" b="1" i="0" u="none" strike="noStrike" kern="1200" cap="none" spc="0" normalizeH="0" baseline="0" noProof="0" dirty="0">
                    <a:ln>
                      <a:noFill/>
                    </a:ln>
                    <a:solidFill>
                      <a:srgbClr val="0076A8"/>
                    </a:solidFill>
                    <a:effectLst/>
                    <a:uLnTx/>
                    <a:uFillTx/>
                    <a:latin typeface="Calibri"/>
                  </a:rPr>
                  <a:t>1</a:t>
                </a:r>
              </a:p>
            </p:txBody>
          </p:sp>
        </p:grpSp>
      </p:grpSp>
      <p:grpSp>
        <p:nvGrpSpPr>
          <p:cNvPr id="214" name="Group 213">
            <a:extLst>
              <a:ext uri="{FF2B5EF4-FFF2-40B4-BE49-F238E27FC236}">
                <a16:creationId xmlns:a16="http://schemas.microsoft.com/office/drawing/2014/main" id="{4CE11D77-BD9B-4642-8B35-D0B37EE2AF75}"/>
              </a:ext>
            </a:extLst>
          </p:cNvPr>
          <p:cNvGrpSpPr/>
          <p:nvPr/>
        </p:nvGrpSpPr>
        <p:grpSpPr>
          <a:xfrm>
            <a:off x="4311017" y="1326501"/>
            <a:ext cx="3581716" cy="432065"/>
            <a:chOff x="4304034" y="1026285"/>
            <a:chExt cx="3581716" cy="432065"/>
          </a:xfrm>
        </p:grpSpPr>
        <p:sp>
          <p:nvSpPr>
            <p:cNvPr id="217" name="Text Placeholder 5">
              <a:extLst>
                <a:ext uri="{FF2B5EF4-FFF2-40B4-BE49-F238E27FC236}">
                  <a16:creationId xmlns:a16="http://schemas.microsoft.com/office/drawing/2014/main" id="{A8BF453C-1F7D-4055-8928-603261E33BFE}"/>
                </a:ext>
              </a:extLst>
            </p:cNvPr>
            <p:cNvSpPr txBox="1">
              <a:spLocks/>
            </p:cNvSpPr>
            <p:nvPr/>
          </p:nvSpPr>
          <p:spPr>
            <a:xfrm>
              <a:off x="4429750" y="1071317"/>
              <a:ext cx="3456000" cy="342000"/>
            </a:xfrm>
            <a:prstGeom prst="roundRect">
              <a:avLst/>
            </a:prstGeom>
            <a:solidFill>
              <a:srgbClr val="0076A8"/>
            </a:solidFill>
            <a:ln w="19050">
              <a:noFill/>
            </a:ln>
            <a:effectLst>
              <a:outerShdw blurRad="50800" dist="38100" dir="5400000" algn="t" rotWithShape="0">
                <a:prstClr val="black">
                  <a:alpha val="40000"/>
                </a:prstClr>
              </a:outerShdw>
            </a:effectLst>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358775">
                <a:spcBef>
                  <a:spcPts val="0"/>
                </a:spcBef>
              </a:pPr>
              <a:r>
                <a:rPr lang="en-GB" b="1" dirty="0">
                  <a:solidFill>
                    <a:schemeClr val="bg1"/>
                  </a:solidFill>
                  <a:latin typeface="Calibri Light" panose="020F0302020204030204" pitchFamily="34" charset="0"/>
                  <a:cs typeface="Calibri Light" panose="020F0302020204030204" pitchFamily="34" charset="0"/>
                </a:rPr>
                <a:t>Transition of capex/opex uplift</a:t>
              </a:r>
            </a:p>
          </p:txBody>
        </p:sp>
        <p:grpSp>
          <p:nvGrpSpPr>
            <p:cNvPr id="220" name="Group 219">
              <a:extLst>
                <a:ext uri="{FF2B5EF4-FFF2-40B4-BE49-F238E27FC236}">
                  <a16:creationId xmlns:a16="http://schemas.microsoft.com/office/drawing/2014/main" id="{5AFD8A6F-359A-4461-8E31-6D0687780851}"/>
                </a:ext>
              </a:extLst>
            </p:cNvPr>
            <p:cNvGrpSpPr>
              <a:grpSpLocks noChangeAspect="1"/>
            </p:cNvGrpSpPr>
            <p:nvPr/>
          </p:nvGrpSpPr>
          <p:grpSpPr>
            <a:xfrm>
              <a:off x="4304034" y="1026285"/>
              <a:ext cx="429909" cy="432065"/>
              <a:chOff x="371242" y="1532492"/>
              <a:chExt cx="965299" cy="965299"/>
            </a:xfrm>
            <a:effectLst>
              <a:outerShdw blurRad="63500" sx="102000" sy="102000" algn="ctr" rotWithShape="0">
                <a:prstClr val="black">
                  <a:alpha val="40000"/>
                </a:prstClr>
              </a:outerShdw>
            </a:effectLst>
          </p:grpSpPr>
          <p:sp>
            <p:nvSpPr>
              <p:cNvPr id="223" name="Oval 222">
                <a:extLst>
                  <a:ext uri="{FF2B5EF4-FFF2-40B4-BE49-F238E27FC236}">
                    <a16:creationId xmlns:a16="http://schemas.microsoft.com/office/drawing/2014/main" id="{EED4BDE1-3449-402E-9316-07010504D0C0}"/>
                  </a:ext>
                </a:extLst>
              </p:cNvPr>
              <p:cNvSpPr/>
              <p:nvPr/>
            </p:nvSpPr>
            <p:spPr bwMode="gray">
              <a:xfrm>
                <a:off x="371242" y="1532492"/>
                <a:ext cx="965299" cy="965299"/>
              </a:xfrm>
              <a:prstGeom prst="ellipse">
                <a:avLst/>
              </a:prstGeom>
              <a:solidFill>
                <a:schemeClr val="bg1"/>
              </a:solidFill>
              <a:ln w="19050" algn="ctr">
                <a:noFill/>
                <a:miter lim="800000"/>
                <a:headEnd/>
                <a:tailEnd/>
              </a:ln>
              <a:effectLst/>
            </p:spPr>
            <p:txBody>
              <a:bodyPr wrap="square" lIns="65872" tIns="65872" rIns="65872" bIns="65872" rtlCol="0" anchor="ctr"/>
              <a:lstStyle/>
              <a:p>
                <a:pPr marL="0" marR="0" lvl="0" indent="0" algn="ctr" defTabSz="677585" rtl="0" eaLnBrk="1" fontAlgn="auto" latinLnBrk="0" hangingPunct="1">
                  <a:lnSpc>
                    <a:spcPct val="106000"/>
                  </a:lnSpc>
                  <a:spcBef>
                    <a:spcPts val="0"/>
                  </a:spcBef>
                  <a:spcAft>
                    <a:spcPts val="0"/>
                  </a:spcAft>
                  <a:buClrTx/>
                  <a:buSzTx/>
                  <a:buFontTx/>
                  <a:buNone/>
                  <a:tabLst/>
                  <a:defRPr/>
                </a:pPr>
                <a:endParaRPr kumimoji="0" lang="en-US" sz="1186" b="1" i="0" u="none" strike="noStrike" kern="1200" cap="none" spc="0" normalizeH="0" baseline="0" noProof="0" dirty="0">
                  <a:ln>
                    <a:noFill/>
                  </a:ln>
                  <a:solidFill>
                    <a:prstClr val="white"/>
                  </a:solidFill>
                  <a:effectLst/>
                  <a:uLnTx/>
                  <a:uFillTx/>
                  <a:latin typeface="Calibri"/>
                  <a:ea typeface="+mn-ea"/>
                  <a:cs typeface="+mn-cs"/>
                </a:endParaRPr>
              </a:p>
            </p:txBody>
          </p:sp>
          <p:sp>
            <p:nvSpPr>
              <p:cNvPr id="226" name="Oval 225">
                <a:extLst>
                  <a:ext uri="{FF2B5EF4-FFF2-40B4-BE49-F238E27FC236}">
                    <a16:creationId xmlns:a16="http://schemas.microsoft.com/office/drawing/2014/main" id="{A8C523F5-C008-4F50-8209-B767440CCF9F}"/>
                  </a:ext>
                </a:extLst>
              </p:cNvPr>
              <p:cNvSpPr/>
              <p:nvPr/>
            </p:nvSpPr>
            <p:spPr bwMode="gray">
              <a:xfrm>
                <a:off x="469664" y="1635918"/>
                <a:ext cx="768452" cy="758448"/>
              </a:xfrm>
              <a:prstGeom prst="ellipse">
                <a:avLst/>
              </a:prstGeom>
              <a:solidFill>
                <a:srgbClr val="0076A8"/>
              </a:solidFill>
              <a:ln w="19050" algn="ctr">
                <a:noFill/>
                <a:miter lim="800000"/>
                <a:headEnd/>
                <a:tailEnd/>
              </a:ln>
              <a:effectLst/>
            </p:spPr>
            <p:txBody>
              <a:bodyPr wrap="square" lIns="65872" tIns="65872" rIns="65872" bIns="65872" rtlCol="0" anchor="ctr"/>
              <a:lstStyle/>
              <a:p>
                <a:pPr marL="0" marR="0" lvl="0" indent="0" algn="ctr" defTabSz="677585" rtl="0" eaLnBrk="1" fontAlgn="auto" latinLnBrk="0" hangingPunct="1">
                  <a:lnSpc>
                    <a:spcPct val="106000"/>
                  </a:lnSpc>
                  <a:spcBef>
                    <a:spcPts val="0"/>
                  </a:spcBef>
                  <a:spcAft>
                    <a:spcPts val="0"/>
                  </a:spcAft>
                  <a:buClrTx/>
                  <a:buSzTx/>
                  <a:buFontTx/>
                  <a:buNone/>
                  <a:tabLst/>
                  <a:defRPr/>
                </a:pPr>
                <a:endParaRPr kumimoji="0" lang="en-US" sz="1186" b="1" i="0" u="none" strike="noStrike" kern="1200" cap="none" spc="0" normalizeH="0" baseline="0" noProof="0" dirty="0">
                  <a:ln>
                    <a:noFill/>
                  </a:ln>
                  <a:solidFill>
                    <a:prstClr val="white"/>
                  </a:solidFill>
                  <a:effectLst/>
                  <a:uLnTx/>
                  <a:uFillTx/>
                  <a:latin typeface="Calibri"/>
                  <a:ea typeface="+mn-ea"/>
                  <a:cs typeface="+mn-cs"/>
                </a:endParaRPr>
              </a:p>
            </p:txBody>
          </p:sp>
          <p:sp>
            <p:nvSpPr>
              <p:cNvPr id="229" name="Oval 228">
                <a:extLst>
                  <a:ext uri="{FF2B5EF4-FFF2-40B4-BE49-F238E27FC236}">
                    <a16:creationId xmlns:a16="http://schemas.microsoft.com/office/drawing/2014/main" id="{8493501D-083E-4768-9A8B-1402E447E053}"/>
                  </a:ext>
                </a:extLst>
              </p:cNvPr>
              <p:cNvSpPr/>
              <p:nvPr/>
            </p:nvSpPr>
            <p:spPr bwMode="gray">
              <a:xfrm>
                <a:off x="557021" y="1722139"/>
                <a:ext cx="593736" cy="586006"/>
              </a:xfrm>
              <a:prstGeom prst="ellipse">
                <a:avLst/>
              </a:prstGeom>
              <a:solidFill>
                <a:schemeClr val="bg1"/>
              </a:solidFill>
              <a:ln w="19050" algn="ctr">
                <a:noFill/>
                <a:miter lim="800000"/>
                <a:headEnd/>
                <a:tailEnd/>
              </a:ln>
            </p:spPr>
            <p:txBody>
              <a:bodyPr wrap="square" lIns="0" tIns="65872" rIns="0" bIns="65872" rtlCol="0" anchor="ctr"/>
              <a:lstStyle/>
              <a:p>
                <a:pPr marL="0" marR="0" lvl="0" indent="0" algn="ctr" defTabSz="677585" rtl="0" eaLnBrk="1" fontAlgn="auto" latinLnBrk="0" hangingPunct="1">
                  <a:lnSpc>
                    <a:spcPct val="106000"/>
                  </a:lnSpc>
                  <a:spcBef>
                    <a:spcPts val="0"/>
                  </a:spcBef>
                  <a:spcAft>
                    <a:spcPts val="0"/>
                  </a:spcAft>
                  <a:buClrTx/>
                  <a:buSzTx/>
                  <a:buFontTx/>
                  <a:buNone/>
                  <a:tabLst/>
                  <a:defRPr/>
                </a:pPr>
                <a:r>
                  <a:rPr lang="en-US" sz="1186" b="1" dirty="0">
                    <a:solidFill>
                      <a:srgbClr val="0076A8"/>
                    </a:solidFill>
                    <a:latin typeface="Calibri"/>
                  </a:rPr>
                  <a:t>2</a:t>
                </a:r>
                <a:endParaRPr kumimoji="0" lang="en-US" sz="1186" b="1" i="0" u="none" strike="noStrike" kern="1200" cap="none" spc="0" normalizeH="0" baseline="0" noProof="0" dirty="0">
                  <a:ln>
                    <a:noFill/>
                  </a:ln>
                  <a:solidFill>
                    <a:srgbClr val="0076A8"/>
                  </a:solidFill>
                  <a:effectLst/>
                  <a:uLnTx/>
                  <a:uFillTx/>
                  <a:latin typeface="Calibri"/>
                </a:endParaRPr>
              </a:p>
            </p:txBody>
          </p:sp>
        </p:grpSp>
      </p:grpSp>
      <p:grpSp>
        <p:nvGrpSpPr>
          <p:cNvPr id="232" name="Group 231">
            <a:extLst>
              <a:ext uri="{FF2B5EF4-FFF2-40B4-BE49-F238E27FC236}">
                <a16:creationId xmlns:a16="http://schemas.microsoft.com/office/drawing/2014/main" id="{E907243C-7005-4909-95A3-6736EFDFDDDA}"/>
              </a:ext>
            </a:extLst>
          </p:cNvPr>
          <p:cNvGrpSpPr/>
          <p:nvPr/>
        </p:nvGrpSpPr>
        <p:grpSpPr>
          <a:xfrm>
            <a:off x="8107965" y="1330602"/>
            <a:ext cx="3596007" cy="438788"/>
            <a:chOff x="8099437" y="1026285"/>
            <a:chExt cx="3596007" cy="432065"/>
          </a:xfrm>
        </p:grpSpPr>
        <p:sp>
          <p:nvSpPr>
            <p:cNvPr id="235" name="Text Placeholder 5">
              <a:extLst>
                <a:ext uri="{FF2B5EF4-FFF2-40B4-BE49-F238E27FC236}">
                  <a16:creationId xmlns:a16="http://schemas.microsoft.com/office/drawing/2014/main" id="{CA5827C8-2127-4C6B-BEB7-975473CB3E7E}"/>
                </a:ext>
              </a:extLst>
            </p:cNvPr>
            <p:cNvSpPr txBox="1">
              <a:spLocks/>
            </p:cNvSpPr>
            <p:nvPr/>
          </p:nvSpPr>
          <p:spPr>
            <a:xfrm>
              <a:off x="8239444" y="1071317"/>
              <a:ext cx="3456000" cy="342000"/>
            </a:xfrm>
            <a:prstGeom prst="roundRect">
              <a:avLst/>
            </a:prstGeom>
            <a:solidFill>
              <a:srgbClr val="0076A8"/>
            </a:solidFill>
            <a:ln w="19050">
              <a:noFill/>
            </a:ln>
            <a:effectLst>
              <a:outerShdw blurRad="50800" dist="38100" dir="5400000" algn="t" rotWithShape="0">
                <a:prstClr val="black">
                  <a:alpha val="40000"/>
                </a:prstClr>
              </a:outerShdw>
            </a:effectLst>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358775">
                <a:spcBef>
                  <a:spcPts val="0"/>
                </a:spcBef>
              </a:pPr>
              <a:r>
                <a:rPr lang="en-GB" b="1" dirty="0">
                  <a:solidFill>
                    <a:schemeClr val="bg1"/>
                  </a:solidFill>
                  <a:latin typeface="Calibri Light" panose="020F0302020204030204" pitchFamily="34" charset="0"/>
                  <a:cs typeface="Calibri Light" panose="020F0302020204030204" pitchFamily="34" charset="0"/>
                </a:rPr>
                <a:t>Variable Metro, Provincial &amp; Rural Profiles</a:t>
              </a:r>
            </a:p>
          </p:txBody>
        </p:sp>
        <p:grpSp>
          <p:nvGrpSpPr>
            <p:cNvPr id="238" name="Group 237">
              <a:extLst>
                <a:ext uri="{FF2B5EF4-FFF2-40B4-BE49-F238E27FC236}">
                  <a16:creationId xmlns:a16="http://schemas.microsoft.com/office/drawing/2014/main" id="{BFCFBB18-96DC-4F84-B516-619ECBAD04B7}"/>
                </a:ext>
              </a:extLst>
            </p:cNvPr>
            <p:cNvGrpSpPr>
              <a:grpSpLocks noChangeAspect="1"/>
            </p:cNvGrpSpPr>
            <p:nvPr/>
          </p:nvGrpSpPr>
          <p:grpSpPr>
            <a:xfrm>
              <a:off x="8099437" y="1026285"/>
              <a:ext cx="429909" cy="432065"/>
              <a:chOff x="371242" y="1532492"/>
              <a:chExt cx="965299" cy="965299"/>
            </a:xfrm>
            <a:effectLst>
              <a:outerShdw blurRad="63500" sx="102000" sy="102000" algn="ctr" rotWithShape="0">
                <a:prstClr val="black">
                  <a:alpha val="40000"/>
                </a:prstClr>
              </a:outerShdw>
            </a:effectLst>
          </p:grpSpPr>
          <p:sp>
            <p:nvSpPr>
              <p:cNvPr id="241" name="Oval 240">
                <a:extLst>
                  <a:ext uri="{FF2B5EF4-FFF2-40B4-BE49-F238E27FC236}">
                    <a16:creationId xmlns:a16="http://schemas.microsoft.com/office/drawing/2014/main" id="{A7D92F7B-E2C2-4647-B8CA-B3EA1C2BCEBC}"/>
                  </a:ext>
                </a:extLst>
              </p:cNvPr>
              <p:cNvSpPr/>
              <p:nvPr/>
            </p:nvSpPr>
            <p:spPr bwMode="gray">
              <a:xfrm>
                <a:off x="371242" y="1532492"/>
                <a:ext cx="965299" cy="965299"/>
              </a:xfrm>
              <a:prstGeom prst="ellipse">
                <a:avLst/>
              </a:prstGeom>
              <a:solidFill>
                <a:schemeClr val="bg1"/>
              </a:solidFill>
              <a:ln w="19050" algn="ctr">
                <a:noFill/>
                <a:miter lim="800000"/>
                <a:headEnd/>
                <a:tailEnd/>
              </a:ln>
              <a:effectLst/>
            </p:spPr>
            <p:txBody>
              <a:bodyPr wrap="square" lIns="65872" tIns="65872" rIns="65872" bIns="65872" rtlCol="0" anchor="ctr"/>
              <a:lstStyle/>
              <a:p>
                <a:pPr marL="0" marR="0" lvl="0" indent="0" algn="ctr" defTabSz="677585" rtl="0" eaLnBrk="1" fontAlgn="auto" latinLnBrk="0" hangingPunct="1">
                  <a:lnSpc>
                    <a:spcPct val="106000"/>
                  </a:lnSpc>
                  <a:spcBef>
                    <a:spcPts val="0"/>
                  </a:spcBef>
                  <a:spcAft>
                    <a:spcPts val="0"/>
                  </a:spcAft>
                  <a:buClrTx/>
                  <a:buSzTx/>
                  <a:buFontTx/>
                  <a:buNone/>
                  <a:tabLst/>
                  <a:defRPr/>
                </a:pPr>
                <a:endParaRPr kumimoji="0" lang="en-US" sz="1186" b="1" i="0" u="none" strike="noStrike" kern="1200" cap="none" spc="0" normalizeH="0" baseline="0" noProof="0" dirty="0">
                  <a:ln>
                    <a:noFill/>
                  </a:ln>
                  <a:solidFill>
                    <a:prstClr val="white"/>
                  </a:solidFill>
                  <a:effectLst/>
                  <a:uLnTx/>
                  <a:uFillTx/>
                  <a:latin typeface="Calibri"/>
                  <a:ea typeface="+mn-ea"/>
                  <a:cs typeface="+mn-cs"/>
                </a:endParaRPr>
              </a:p>
            </p:txBody>
          </p:sp>
          <p:sp>
            <p:nvSpPr>
              <p:cNvPr id="244" name="Oval 243">
                <a:extLst>
                  <a:ext uri="{FF2B5EF4-FFF2-40B4-BE49-F238E27FC236}">
                    <a16:creationId xmlns:a16="http://schemas.microsoft.com/office/drawing/2014/main" id="{DBE1E778-E78E-42AB-B8AB-B49C9534DF1C}"/>
                  </a:ext>
                </a:extLst>
              </p:cNvPr>
              <p:cNvSpPr/>
              <p:nvPr/>
            </p:nvSpPr>
            <p:spPr bwMode="gray">
              <a:xfrm>
                <a:off x="469664" y="1635918"/>
                <a:ext cx="768452" cy="758448"/>
              </a:xfrm>
              <a:prstGeom prst="ellipse">
                <a:avLst/>
              </a:prstGeom>
              <a:solidFill>
                <a:srgbClr val="0076A8"/>
              </a:solidFill>
              <a:ln w="19050" algn="ctr">
                <a:noFill/>
                <a:miter lim="800000"/>
                <a:headEnd/>
                <a:tailEnd/>
              </a:ln>
              <a:effectLst/>
            </p:spPr>
            <p:txBody>
              <a:bodyPr wrap="square" lIns="65872" tIns="65872" rIns="65872" bIns="65872" rtlCol="0" anchor="ctr"/>
              <a:lstStyle/>
              <a:p>
                <a:pPr marL="0" marR="0" lvl="0" indent="0" algn="ctr" defTabSz="677585" rtl="0" eaLnBrk="1" fontAlgn="auto" latinLnBrk="0" hangingPunct="1">
                  <a:lnSpc>
                    <a:spcPct val="106000"/>
                  </a:lnSpc>
                  <a:spcBef>
                    <a:spcPts val="0"/>
                  </a:spcBef>
                  <a:spcAft>
                    <a:spcPts val="0"/>
                  </a:spcAft>
                  <a:buClrTx/>
                  <a:buSzTx/>
                  <a:buFontTx/>
                  <a:buNone/>
                  <a:tabLst/>
                  <a:defRPr/>
                </a:pPr>
                <a:endParaRPr kumimoji="0" lang="en-US" sz="1186" b="1" i="0" u="none" strike="noStrike" kern="1200" cap="none" spc="0" normalizeH="0" baseline="0" noProof="0" dirty="0">
                  <a:ln>
                    <a:noFill/>
                  </a:ln>
                  <a:solidFill>
                    <a:prstClr val="white"/>
                  </a:solidFill>
                  <a:effectLst/>
                  <a:uLnTx/>
                  <a:uFillTx/>
                  <a:latin typeface="Calibri"/>
                  <a:ea typeface="+mn-ea"/>
                  <a:cs typeface="+mn-cs"/>
                </a:endParaRPr>
              </a:p>
            </p:txBody>
          </p:sp>
          <p:sp>
            <p:nvSpPr>
              <p:cNvPr id="247" name="Oval 246">
                <a:extLst>
                  <a:ext uri="{FF2B5EF4-FFF2-40B4-BE49-F238E27FC236}">
                    <a16:creationId xmlns:a16="http://schemas.microsoft.com/office/drawing/2014/main" id="{2AE861DF-117D-42F7-BA72-67FBEC8CC4A0}"/>
                  </a:ext>
                </a:extLst>
              </p:cNvPr>
              <p:cNvSpPr/>
              <p:nvPr/>
            </p:nvSpPr>
            <p:spPr bwMode="gray">
              <a:xfrm>
                <a:off x="557021" y="1722139"/>
                <a:ext cx="593736" cy="586006"/>
              </a:xfrm>
              <a:prstGeom prst="ellipse">
                <a:avLst/>
              </a:prstGeom>
              <a:solidFill>
                <a:schemeClr val="bg1"/>
              </a:solidFill>
              <a:ln w="19050" algn="ctr">
                <a:noFill/>
                <a:miter lim="800000"/>
                <a:headEnd/>
                <a:tailEnd/>
              </a:ln>
            </p:spPr>
            <p:txBody>
              <a:bodyPr wrap="square" lIns="0" tIns="65872" rIns="0" bIns="65872" rtlCol="0" anchor="ctr"/>
              <a:lstStyle/>
              <a:p>
                <a:pPr marL="0" marR="0" lvl="0" indent="0" algn="ctr" defTabSz="677585" rtl="0" eaLnBrk="1" fontAlgn="auto" latinLnBrk="0" hangingPunct="1">
                  <a:lnSpc>
                    <a:spcPct val="106000"/>
                  </a:lnSpc>
                  <a:spcBef>
                    <a:spcPts val="0"/>
                  </a:spcBef>
                  <a:spcAft>
                    <a:spcPts val="0"/>
                  </a:spcAft>
                  <a:buClrTx/>
                  <a:buSzTx/>
                  <a:buFontTx/>
                  <a:buNone/>
                  <a:tabLst/>
                  <a:defRPr/>
                </a:pPr>
                <a:r>
                  <a:rPr lang="en-US" sz="1186" b="1" dirty="0">
                    <a:solidFill>
                      <a:srgbClr val="0076A8"/>
                    </a:solidFill>
                    <a:latin typeface="Calibri"/>
                  </a:rPr>
                  <a:t>3</a:t>
                </a:r>
                <a:endParaRPr kumimoji="0" lang="en-US" sz="1186" b="1" i="0" u="none" strike="noStrike" kern="1200" cap="none" spc="0" normalizeH="0" baseline="0" noProof="0" dirty="0">
                  <a:ln>
                    <a:noFill/>
                  </a:ln>
                  <a:solidFill>
                    <a:srgbClr val="0076A8"/>
                  </a:solidFill>
                  <a:effectLst/>
                  <a:uLnTx/>
                  <a:uFillTx/>
                  <a:latin typeface="Calibri"/>
                </a:endParaRPr>
              </a:p>
            </p:txBody>
          </p:sp>
        </p:grpSp>
      </p:grpSp>
      <p:grpSp>
        <p:nvGrpSpPr>
          <p:cNvPr id="250" name="Group 249">
            <a:extLst>
              <a:ext uri="{FF2B5EF4-FFF2-40B4-BE49-F238E27FC236}">
                <a16:creationId xmlns:a16="http://schemas.microsoft.com/office/drawing/2014/main" id="{DA0F2C63-6D81-4ED6-A6E0-6A402DF3DADB}"/>
              </a:ext>
            </a:extLst>
          </p:cNvPr>
          <p:cNvGrpSpPr/>
          <p:nvPr/>
        </p:nvGrpSpPr>
        <p:grpSpPr>
          <a:xfrm>
            <a:off x="8325190" y="4258113"/>
            <a:ext cx="1058772" cy="1756609"/>
            <a:chOff x="8172522" y="4644914"/>
            <a:chExt cx="1058772" cy="1756609"/>
          </a:xfrm>
        </p:grpSpPr>
        <p:grpSp>
          <p:nvGrpSpPr>
            <p:cNvPr id="254" name="Group 253">
              <a:extLst>
                <a:ext uri="{FF2B5EF4-FFF2-40B4-BE49-F238E27FC236}">
                  <a16:creationId xmlns:a16="http://schemas.microsoft.com/office/drawing/2014/main" id="{45510133-AA36-42CC-BC04-3C0B229C37D1}"/>
                </a:ext>
              </a:extLst>
            </p:cNvPr>
            <p:cNvGrpSpPr/>
            <p:nvPr/>
          </p:nvGrpSpPr>
          <p:grpSpPr>
            <a:xfrm>
              <a:off x="8172522" y="5844636"/>
              <a:ext cx="1058772" cy="556887"/>
              <a:chOff x="8172920" y="4328210"/>
              <a:chExt cx="1174607" cy="617814"/>
            </a:xfrm>
            <a:effectLst>
              <a:outerShdw blurRad="63500" sx="102000" sy="102000" algn="ctr" rotWithShape="0">
                <a:prstClr val="black">
                  <a:alpha val="40000"/>
                </a:prstClr>
              </a:outerShdw>
            </a:effectLst>
          </p:grpSpPr>
          <p:sp>
            <p:nvSpPr>
              <p:cNvPr id="366" name="Rectangle: Top Corners Rounded 16">
                <a:extLst>
                  <a:ext uri="{FF2B5EF4-FFF2-40B4-BE49-F238E27FC236}">
                    <a16:creationId xmlns:a16="http://schemas.microsoft.com/office/drawing/2014/main" id="{83F6D615-3FA2-44AB-A949-A7AD26DE2D0E}"/>
                  </a:ext>
                </a:extLst>
              </p:cNvPr>
              <p:cNvSpPr/>
              <p:nvPr/>
            </p:nvSpPr>
            <p:spPr bwMode="gray">
              <a:xfrm>
                <a:off x="8172920" y="4328210"/>
                <a:ext cx="1174607" cy="212779"/>
              </a:xfrm>
              <a:prstGeom prst="snip1Rect">
                <a:avLst>
                  <a:gd name="adj" fmla="val 32335"/>
                </a:avLst>
              </a:prstGeom>
              <a:solidFill>
                <a:srgbClr val="004F59"/>
              </a:solidFill>
              <a:ln w="19050" algn="ctr">
                <a:noFill/>
                <a:miter lim="800000"/>
                <a:headEnd/>
                <a:tailEnd/>
              </a:ln>
            </p:spPr>
            <p:txBody>
              <a:bodyPr wrap="none" lIns="66675" tIns="0" rIns="66675" bIns="36000" rtlCol="0" anchor="ctr">
                <a:noAutofit/>
              </a:bodyPr>
              <a:lstStyle/>
              <a:p>
                <a:pPr algn="ctr">
                  <a:lnSpc>
                    <a:spcPct val="106000"/>
                  </a:lnSpc>
                  <a:buFont typeface="Wingdings 2" pitchFamily="18" charset="2"/>
                  <a:buNone/>
                </a:pPr>
                <a:r>
                  <a:rPr lang="en-US" sz="1000" dirty="0">
                    <a:solidFill>
                      <a:schemeClr val="bg1"/>
                    </a:solidFill>
                  </a:rPr>
                  <a:t>Metro Profile</a:t>
                </a:r>
              </a:p>
            </p:txBody>
          </p:sp>
          <p:sp>
            <p:nvSpPr>
              <p:cNvPr id="367" name="Rectangle 366">
                <a:extLst>
                  <a:ext uri="{FF2B5EF4-FFF2-40B4-BE49-F238E27FC236}">
                    <a16:creationId xmlns:a16="http://schemas.microsoft.com/office/drawing/2014/main" id="{9483AE15-0F52-4F89-8DB3-9B4D4C36E278}"/>
                  </a:ext>
                </a:extLst>
              </p:cNvPr>
              <p:cNvSpPr/>
              <p:nvPr/>
            </p:nvSpPr>
            <p:spPr bwMode="gray">
              <a:xfrm>
                <a:off x="8172920" y="4534597"/>
                <a:ext cx="1174607" cy="411427"/>
              </a:xfrm>
              <a:prstGeom prst="rect">
                <a:avLst/>
              </a:prstGeom>
              <a:solidFill>
                <a:schemeClr val="bg1">
                  <a:lumMod val="95000"/>
                </a:schemeClr>
              </a:solidFill>
              <a:ln w="19050" algn="ctr">
                <a:noFill/>
                <a:miter lim="800000"/>
                <a:headEnd/>
                <a:tailEnd/>
              </a:ln>
            </p:spPr>
            <p:txBody>
              <a:bodyPr wrap="none" lIns="66675" tIns="66675" rIns="66675" bIns="66675" rtlCol="0" anchor="ctr">
                <a:noAutofit/>
              </a:bodyPr>
              <a:lstStyle/>
              <a:p>
                <a:pPr algn="ctr">
                  <a:lnSpc>
                    <a:spcPct val="106000"/>
                  </a:lnSpc>
                  <a:buFont typeface="Wingdings 2" pitchFamily="18" charset="2"/>
                  <a:buNone/>
                </a:pPr>
                <a:endParaRPr lang="en-US" sz="900" dirty="0">
                  <a:solidFill>
                    <a:schemeClr val="bg1"/>
                  </a:solidFill>
                </a:endParaRPr>
              </a:p>
            </p:txBody>
          </p:sp>
          <p:grpSp>
            <p:nvGrpSpPr>
              <p:cNvPr id="368" name="Graphic 4">
                <a:extLst>
                  <a:ext uri="{FF2B5EF4-FFF2-40B4-BE49-F238E27FC236}">
                    <a16:creationId xmlns:a16="http://schemas.microsoft.com/office/drawing/2014/main" id="{24616A74-4338-4EF6-AFB0-0BAB7C95DB85}"/>
                  </a:ext>
                </a:extLst>
              </p:cNvPr>
              <p:cNvGrpSpPr/>
              <p:nvPr/>
            </p:nvGrpSpPr>
            <p:grpSpPr>
              <a:xfrm>
                <a:off x="8936827" y="4569196"/>
                <a:ext cx="216000" cy="216000"/>
                <a:chOff x="5099169" y="2371176"/>
                <a:chExt cx="362309" cy="361971"/>
              </a:xfrm>
              <a:solidFill>
                <a:srgbClr val="004F59"/>
              </a:solidFill>
            </p:grpSpPr>
            <p:sp>
              <p:nvSpPr>
                <p:cNvPr id="377" name="Graphic 4">
                  <a:extLst>
                    <a:ext uri="{FF2B5EF4-FFF2-40B4-BE49-F238E27FC236}">
                      <a16:creationId xmlns:a16="http://schemas.microsoft.com/office/drawing/2014/main" id="{992D3DD7-C6C4-476A-908B-02BC8E3D18D8}"/>
                    </a:ext>
                  </a:extLst>
                </p:cNvPr>
                <p:cNvSpPr/>
                <p:nvPr/>
              </p:nvSpPr>
              <p:spPr>
                <a:xfrm>
                  <a:off x="5197574" y="2471402"/>
                  <a:ext cx="164381" cy="164866"/>
                </a:xfrm>
                <a:custGeom>
                  <a:avLst/>
                  <a:gdLst>
                    <a:gd name="connsiteX0" fmla="*/ 90098 w 164381"/>
                    <a:gd name="connsiteY0" fmla="*/ 83630 h 164866"/>
                    <a:gd name="connsiteX1" fmla="*/ 90098 w 164381"/>
                    <a:gd name="connsiteY1" fmla="*/ 83630 h 164866"/>
                    <a:gd name="connsiteX2" fmla="*/ 61343 w 164381"/>
                    <a:gd name="connsiteY2" fmla="*/ 54264 h 164866"/>
                    <a:gd name="connsiteX3" fmla="*/ 58787 w 164381"/>
                    <a:gd name="connsiteY3" fmla="*/ 41496 h 164866"/>
                    <a:gd name="connsiteX4" fmla="*/ 51758 w 164381"/>
                    <a:gd name="connsiteY4" fmla="*/ 7022 h 164866"/>
                    <a:gd name="connsiteX5" fmla="*/ 40257 w 164381"/>
                    <a:gd name="connsiteY5" fmla="*/ 0 h 164866"/>
                    <a:gd name="connsiteX6" fmla="*/ 47285 w 164381"/>
                    <a:gd name="connsiteY6" fmla="*/ 19152 h 164866"/>
                    <a:gd name="connsiteX7" fmla="*/ 18531 w 164381"/>
                    <a:gd name="connsiteY7" fmla="*/ 47880 h 164866"/>
                    <a:gd name="connsiteX8" fmla="*/ 0 w 164381"/>
                    <a:gd name="connsiteY8" fmla="*/ 40857 h 164866"/>
                    <a:gd name="connsiteX9" fmla="*/ 6390 w 164381"/>
                    <a:gd name="connsiteY9" fmla="*/ 51710 h 164866"/>
                    <a:gd name="connsiteX10" fmla="*/ 40895 w 164381"/>
                    <a:gd name="connsiteY10" fmla="*/ 60009 h 164866"/>
                    <a:gd name="connsiteX11" fmla="*/ 46646 w 164381"/>
                    <a:gd name="connsiteY11" fmla="*/ 58733 h 164866"/>
                    <a:gd name="connsiteX12" fmla="*/ 54953 w 164381"/>
                    <a:gd name="connsiteY12" fmla="*/ 62563 h 164866"/>
                    <a:gd name="connsiteX13" fmla="*/ 155914 w 164381"/>
                    <a:gd name="connsiteY13" fmla="*/ 163430 h 164866"/>
                    <a:gd name="connsiteX14" fmla="*/ 162943 w 164381"/>
                    <a:gd name="connsiteY14" fmla="*/ 163430 h 164866"/>
                    <a:gd name="connsiteX15" fmla="*/ 162943 w 164381"/>
                    <a:gd name="connsiteY15" fmla="*/ 156408 h 164866"/>
                    <a:gd name="connsiteX16" fmla="*/ 162943 w 164381"/>
                    <a:gd name="connsiteY16" fmla="*/ 156408 h 164866"/>
                    <a:gd name="connsiteX17" fmla="*/ 90098 w 164381"/>
                    <a:gd name="connsiteY17" fmla="*/ 83630 h 164866"/>
                    <a:gd name="connsiteX18" fmla="*/ 90098 w 164381"/>
                    <a:gd name="connsiteY18" fmla="*/ 83630 h 16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4381" h="164866">
                      <a:moveTo>
                        <a:pt x="90098" y="83630"/>
                      </a:moveTo>
                      <a:lnTo>
                        <a:pt x="90098" y="83630"/>
                      </a:lnTo>
                      <a:lnTo>
                        <a:pt x="61343" y="54264"/>
                      </a:lnTo>
                      <a:cubicBezTo>
                        <a:pt x="58148" y="51072"/>
                        <a:pt x="56870" y="45965"/>
                        <a:pt x="58787" y="41496"/>
                      </a:cubicBezTo>
                      <a:cubicBezTo>
                        <a:pt x="63899" y="29366"/>
                        <a:pt x="60704" y="15960"/>
                        <a:pt x="51758" y="7022"/>
                      </a:cubicBezTo>
                      <a:cubicBezTo>
                        <a:pt x="48563" y="3830"/>
                        <a:pt x="44730" y="1277"/>
                        <a:pt x="40257" y="0"/>
                      </a:cubicBezTo>
                      <a:cubicBezTo>
                        <a:pt x="44730" y="5107"/>
                        <a:pt x="47285" y="12130"/>
                        <a:pt x="47285" y="19152"/>
                      </a:cubicBezTo>
                      <a:cubicBezTo>
                        <a:pt x="47285" y="35112"/>
                        <a:pt x="34505" y="47880"/>
                        <a:pt x="18531" y="47880"/>
                      </a:cubicBezTo>
                      <a:cubicBezTo>
                        <a:pt x="11502" y="47880"/>
                        <a:pt x="5112" y="45326"/>
                        <a:pt x="0" y="40857"/>
                      </a:cubicBezTo>
                      <a:cubicBezTo>
                        <a:pt x="1278" y="44688"/>
                        <a:pt x="3834" y="48518"/>
                        <a:pt x="6390" y="51710"/>
                      </a:cubicBezTo>
                      <a:cubicBezTo>
                        <a:pt x="15336" y="60648"/>
                        <a:pt x="28755" y="63840"/>
                        <a:pt x="40895" y="60009"/>
                      </a:cubicBezTo>
                      <a:cubicBezTo>
                        <a:pt x="42812" y="58733"/>
                        <a:pt x="44730" y="58733"/>
                        <a:pt x="46646" y="58733"/>
                      </a:cubicBezTo>
                      <a:cubicBezTo>
                        <a:pt x="49841" y="58733"/>
                        <a:pt x="53036" y="60009"/>
                        <a:pt x="54953" y="62563"/>
                      </a:cubicBezTo>
                      <a:lnTo>
                        <a:pt x="155914" y="163430"/>
                      </a:lnTo>
                      <a:cubicBezTo>
                        <a:pt x="157831" y="165345"/>
                        <a:pt x="161026" y="165345"/>
                        <a:pt x="162943" y="163430"/>
                      </a:cubicBezTo>
                      <a:cubicBezTo>
                        <a:pt x="164860" y="161515"/>
                        <a:pt x="164860" y="158323"/>
                        <a:pt x="162943" y="156408"/>
                      </a:cubicBezTo>
                      <a:cubicBezTo>
                        <a:pt x="162943" y="156408"/>
                        <a:pt x="162943" y="156408"/>
                        <a:pt x="162943" y="156408"/>
                      </a:cubicBezTo>
                      <a:lnTo>
                        <a:pt x="90098" y="83630"/>
                      </a:lnTo>
                      <a:lnTo>
                        <a:pt x="90098" y="83630"/>
                      </a:lnTo>
                      <a:close/>
                    </a:path>
                  </a:pathLst>
                </a:custGeom>
                <a:grpFill/>
                <a:ln w="6390" cap="flat">
                  <a:noFill/>
                  <a:prstDash val="solid"/>
                  <a:miter/>
                </a:ln>
              </p:spPr>
              <p:txBody>
                <a:bodyPr rtlCol="0" anchor="ctr">
                  <a:noAutofit/>
                </a:bodyPr>
                <a:lstStyle/>
                <a:p>
                  <a:endParaRPr lang="en-US" sz="2000" dirty="0"/>
                </a:p>
              </p:txBody>
            </p:sp>
            <p:sp>
              <p:nvSpPr>
                <p:cNvPr id="378" name="Graphic 4">
                  <a:extLst>
                    <a:ext uri="{FF2B5EF4-FFF2-40B4-BE49-F238E27FC236}">
                      <a16:creationId xmlns:a16="http://schemas.microsoft.com/office/drawing/2014/main" id="{E82EA49F-CA57-4418-B776-20FC82F8CFB2}"/>
                    </a:ext>
                  </a:extLst>
                </p:cNvPr>
                <p:cNvSpPr/>
                <p:nvPr/>
              </p:nvSpPr>
              <p:spPr>
                <a:xfrm>
                  <a:off x="5194380" y="2559501"/>
                  <a:ext cx="72845" cy="72164"/>
                </a:xfrm>
                <a:custGeom>
                  <a:avLst/>
                  <a:gdLst>
                    <a:gd name="connsiteX0" fmla="*/ 1917 w 72845"/>
                    <a:gd name="connsiteY0" fmla="*/ 62563 h 72164"/>
                    <a:gd name="connsiteX1" fmla="*/ 0 w 72845"/>
                    <a:gd name="connsiteY1" fmla="*/ 66394 h 72164"/>
                    <a:gd name="connsiteX2" fmla="*/ 1917 w 72845"/>
                    <a:gd name="connsiteY2" fmla="*/ 70224 h 72164"/>
                    <a:gd name="connsiteX3" fmla="*/ 8946 w 72845"/>
                    <a:gd name="connsiteY3" fmla="*/ 71501 h 72164"/>
                    <a:gd name="connsiteX4" fmla="*/ 9585 w 72845"/>
                    <a:gd name="connsiteY4" fmla="*/ 70862 h 72164"/>
                    <a:gd name="connsiteX5" fmla="*/ 72845 w 72845"/>
                    <a:gd name="connsiteY5" fmla="*/ 7661 h 72164"/>
                    <a:gd name="connsiteX6" fmla="*/ 65177 w 72845"/>
                    <a:gd name="connsiteY6" fmla="*/ 0 h 72164"/>
                    <a:gd name="connsiteX7" fmla="*/ 1917 w 72845"/>
                    <a:gd name="connsiteY7" fmla="*/ 62563 h 7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845" h="72164">
                      <a:moveTo>
                        <a:pt x="1917" y="62563"/>
                      </a:moveTo>
                      <a:cubicBezTo>
                        <a:pt x="639" y="63840"/>
                        <a:pt x="0" y="65117"/>
                        <a:pt x="0" y="66394"/>
                      </a:cubicBezTo>
                      <a:cubicBezTo>
                        <a:pt x="0" y="67670"/>
                        <a:pt x="639" y="68947"/>
                        <a:pt x="1917" y="70224"/>
                      </a:cubicBezTo>
                      <a:cubicBezTo>
                        <a:pt x="3834" y="72139"/>
                        <a:pt x="6390" y="72778"/>
                        <a:pt x="8946" y="71501"/>
                      </a:cubicBezTo>
                      <a:cubicBezTo>
                        <a:pt x="8946" y="71501"/>
                        <a:pt x="9585" y="70862"/>
                        <a:pt x="9585" y="70862"/>
                      </a:cubicBezTo>
                      <a:lnTo>
                        <a:pt x="72845" y="7661"/>
                      </a:lnTo>
                      <a:lnTo>
                        <a:pt x="65177" y="0"/>
                      </a:lnTo>
                      <a:lnTo>
                        <a:pt x="1917" y="62563"/>
                      </a:lnTo>
                      <a:close/>
                    </a:path>
                  </a:pathLst>
                </a:custGeom>
                <a:grpFill/>
                <a:ln w="6390" cap="flat">
                  <a:noFill/>
                  <a:prstDash val="solid"/>
                  <a:miter/>
                </a:ln>
              </p:spPr>
              <p:txBody>
                <a:bodyPr rtlCol="0" anchor="ctr">
                  <a:noAutofit/>
                </a:bodyPr>
                <a:lstStyle/>
                <a:p>
                  <a:endParaRPr lang="en-US" sz="2000" dirty="0"/>
                </a:p>
              </p:txBody>
            </p:sp>
            <p:sp>
              <p:nvSpPr>
                <p:cNvPr id="379" name="Graphic 4">
                  <a:extLst>
                    <a:ext uri="{FF2B5EF4-FFF2-40B4-BE49-F238E27FC236}">
                      <a16:creationId xmlns:a16="http://schemas.microsoft.com/office/drawing/2014/main" id="{2E8FEF6A-4686-43F1-B9D8-1D8E1DD6F301}"/>
                    </a:ext>
                  </a:extLst>
                </p:cNvPr>
                <p:cNvSpPr/>
                <p:nvPr/>
              </p:nvSpPr>
              <p:spPr>
                <a:xfrm>
                  <a:off x="5284477" y="2477786"/>
                  <a:ext cx="78596" cy="63201"/>
                </a:xfrm>
                <a:custGeom>
                  <a:avLst/>
                  <a:gdLst>
                    <a:gd name="connsiteX0" fmla="*/ 19809 w 78596"/>
                    <a:gd name="connsiteY0" fmla="*/ 0 h 63201"/>
                    <a:gd name="connsiteX1" fmla="*/ 33228 w 78596"/>
                    <a:gd name="connsiteY1" fmla="*/ 13406 h 63201"/>
                    <a:gd name="connsiteX2" fmla="*/ 33228 w 78596"/>
                    <a:gd name="connsiteY2" fmla="*/ 22344 h 63201"/>
                    <a:gd name="connsiteX3" fmla="*/ 0 w 78596"/>
                    <a:gd name="connsiteY3" fmla="*/ 55541 h 63201"/>
                    <a:gd name="connsiteX4" fmla="*/ 7668 w 78596"/>
                    <a:gd name="connsiteY4" fmla="*/ 63201 h 63201"/>
                    <a:gd name="connsiteX5" fmla="*/ 40896 w 78596"/>
                    <a:gd name="connsiteY5" fmla="*/ 30005 h 63201"/>
                    <a:gd name="connsiteX6" fmla="*/ 49841 w 78596"/>
                    <a:gd name="connsiteY6" fmla="*/ 30005 h 63201"/>
                    <a:gd name="connsiteX7" fmla="*/ 68372 w 78596"/>
                    <a:gd name="connsiteY7" fmla="*/ 48518 h 63201"/>
                    <a:gd name="connsiteX8" fmla="*/ 78596 w 78596"/>
                    <a:gd name="connsiteY8" fmla="*/ 38304 h 63201"/>
                    <a:gd name="connsiteX9" fmla="*/ 46646 w 78596"/>
                    <a:gd name="connsiteY9" fmla="*/ 6384 h 63201"/>
                    <a:gd name="connsiteX10" fmla="*/ 19809 w 78596"/>
                    <a:gd name="connsiteY10" fmla="*/ 0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596" h="63201">
                      <a:moveTo>
                        <a:pt x="19809" y="0"/>
                      </a:moveTo>
                      <a:lnTo>
                        <a:pt x="33228" y="13406"/>
                      </a:lnTo>
                      <a:cubicBezTo>
                        <a:pt x="35783" y="15960"/>
                        <a:pt x="35783" y="19790"/>
                        <a:pt x="33228" y="22344"/>
                      </a:cubicBezTo>
                      <a:lnTo>
                        <a:pt x="0" y="55541"/>
                      </a:lnTo>
                      <a:lnTo>
                        <a:pt x="7668" y="63201"/>
                      </a:lnTo>
                      <a:lnTo>
                        <a:pt x="40896" y="30005"/>
                      </a:lnTo>
                      <a:cubicBezTo>
                        <a:pt x="43451" y="27451"/>
                        <a:pt x="47286" y="27451"/>
                        <a:pt x="49841" y="30005"/>
                      </a:cubicBezTo>
                      <a:lnTo>
                        <a:pt x="68372" y="48518"/>
                      </a:lnTo>
                      <a:lnTo>
                        <a:pt x="78596" y="38304"/>
                      </a:lnTo>
                      <a:lnTo>
                        <a:pt x="46646" y="6384"/>
                      </a:lnTo>
                      <a:lnTo>
                        <a:pt x="19809" y="0"/>
                      </a:lnTo>
                      <a:close/>
                    </a:path>
                  </a:pathLst>
                </a:custGeom>
                <a:grpFill/>
                <a:ln w="6390" cap="flat">
                  <a:noFill/>
                  <a:prstDash val="solid"/>
                  <a:miter/>
                </a:ln>
              </p:spPr>
              <p:txBody>
                <a:bodyPr rtlCol="0" anchor="ctr">
                  <a:noAutofit/>
                </a:bodyPr>
                <a:lstStyle/>
                <a:p>
                  <a:endParaRPr lang="en-US" sz="2000" dirty="0"/>
                </a:p>
              </p:txBody>
            </p:sp>
            <p:sp>
              <p:nvSpPr>
                <p:cNvPr id="380" name="Graphic 4">
                  <a:extLst>
                    <a:ext uri="{FF2B5EF4-FFF2-40B4-BE49-F238E27FC236}">
                      <a16:creationId xmlns:a16="http://schemas.microsoft.com/office/drawing/2014/main" id="{1DFE14B0-4A20-444D-99FD-D5DF02253F27}"/>
                    </a:ext>
                  </a:extLst>
                </p:cNvPr>
                <p:cNvSpPr/>
                <p:nvPr/>
              </p:nvSpPr>
              <p:spPr>
                <a:xfrm>
                  <a:off x="5099169" y="237117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277962 w 362309"/>
                    <a:gd name="connsiteY7" fmla="*/ 149385 h 361971"/>
                    <a:gd name="connsiteX8" fmla="*/ 258792 w 362309"/>
                    <a:gd name="connsiteY8" fmla="*/ 168537 h 361971"/>
                    <a:gd name="connsiteX9" fmla="*/ 249846 w 362309"/>
                    <a:gd name="connsiteY9" fmla="*/ 168537 h 361971"/>
                    <a:gd name="connsiteX10" fmla="*/ 249846 w 362309"/>
                    <a:gd name="connsiteY10" fmla="*/ 168537 h 361971"/>
                    <a:gd name="connsiteX11" fmla="*/ 231316 w 362309"/>
                    <a:gd name="connsiteY11" fmla="*/ 150024 h 361971"/>
                    <a:gd name="connsiteX12" fmla="*/ 202561 w 362309"/>
                    <a:gd name="connsiteY12" fmla="*/ 178752 h 361971"/>
                    <a:gd name="connsiteX13" fmla="*/ 269655 w 362309"/>
                    <a:gd name="connsiteY13" fmla="*/ 246422 h 361971"/>
                    <a:gd name="connsiteX14" fmla="*/ 269655 w 362309"/>
                    <a:gd name="connsiteY14" fmla="*/ 271319 h 361971"/>
                    <a:gd name="connsiteX15" fmla="*/ 269655 w 362309"/>
                    <a:gd name="connsiteY15" fmla="*/ 271319 h 361971"/>
                    <a:gd name="connsiteX16" fmla="*/ 269655 w 362309"/>
                    <a:gd name="connsiteY16" fmla="*/ 271319 h 361971"/>
                    <a:gd name="connsiteX17" fmla="*/ 256876 w 362309"/>
                    <a:gd name="connsiteY17" fmla="*/ 276427 h 361971"/>
                    <a:gd name="connsiteX18" fmla="*/ 244735 w 362309"/>
                    <a:gd name="connsiteY18" fmla="*/ 271319 h 361971"/>
                    <a:gd name="connsiteX19" fmla="*/ 177640 w 362309"/>
                    <a:gd name="connsiteY19" fmla="*/ 204287 h 361971"/>
                    <a:gd name="connsiteX20" fmla="*/ 114380 w 362309"/>
                    <a:gd name="connsiteY20" fmla="*/ 267489 h 361971"/>
                    <a:gd name="connsiteX21" fmla="*/ 102239 w 362309"/>
                    <a:gd name="connsiteY21" fmla="*/ 272596 h 361971"/>
                    <a:gd name="connsiteX22" fmla="*/ 88820 w 362309"/>
                    <a:gd name="connsiteY22" fmla="*/ 266851 h 361971"/>
                    <a:gd name="connsiteX23" fmla="*/ 83069 w 362309"/>
                    <a:gd name="connsiteY23" fmla="*/ 254083 h 361971"/>
                    <a:gd name="connsiteX24" fmla="*/ 88820 w 362309"/>
                    <a:gd name="connsiteY24" fmla="*/ 241315 h 361971"/>
                    <a:gd name="connsiteX25" fmla="*/ 152080 w 362309"/>
                    <a:gd name="connsiteY25" fmla="*/ 178113 h 361971"/>
                    <a:gd name="connsiteX26" fmla="*/ 144412 w 362309"/>
                    <a:gd name="connsiteY26" fmla="*/ 170452 h 361971"/>
                    <a:gd name="connsiteX27" fmla="*/ 86264 w 362309"/>
                    <a:gd name="connsiteY27" fmla="*/ 144916 h 361971"/>
                    <a:gd name="connsiteX28" fmla="*/ 83708 w 362309"/>
                    <a:gd name="connsiteY28" fmla="*/ 121934 h 361971"/>
                    <a:gd name="connsiteX29" fmla="*/ 88181 w 362309"/>
                    <a:gd name="connsiteY29" fmla="*/ 116827 h 361971"/>
                    <a:gd name="connsiteX30" fmla="*/ 94571 w 362309"/>
                    <a:gd name="connsiteY30" fmla="*/ 118104 h 361971"/>
                    <a:gd name="connsiteX31" fmla="*/ 105434 w 362309"/>
                    <a:gd name="connsiteY31" fmla="*/ 128957 h 361971"/>
                    <a:gd name="connsiteX32" fmla="*/ 128438 w 362309"/>
                    <a:gd name="connsiteY32" fmla="*/ 128957 h 361971"/>
                    <a:gd name="connsiteX33" fmla="*/ 132911 w 362309"/>
                    <a:gd name="connsiteY33" fmla="*/ 117465 h 361971"/>
                    <a:gd name="connsiteX34" fmla="*/ 128438 w 362309"/>
                    <a:gd name="connsiteY34" fmla="*/ 105974 h 361971"/>
                    <a:gd name="connsiteX35" fmla="*/ 117575 w 362309"/>
                    <a:gd name="connsiteY35" fmla="*/ 95121 h 361971"/>
                    <a:gd name="connsiteX36" fmla="*/ 117575 w 362309"/>
                    <a:gd name="connsiteY36" fmla="*/ 86184 h 361971"/>
                    <a:gd name="connsiteX37" fmla="*/ 121409 w 362309"/>
                    <a:gd name="connsiteY37" fmla="*/ 84269 h 361971"/>
                    <a:gd name="connsiteX38" fmla="*/ 172528 w 362309"/>
                    <a:gd name="connsiteY38" fmla="*/ 121934 h 361971"/>
                    <a:gd name="connsiteX39" fmla="*/ 169972 w 362309"/>
                    <a:gd name="connsiteY39" fmla="*/ 144916 h 361971"/>
                    <a:gd name="connsiteX40" fmla="*/ 177001 w 362309"/>
                    <a:gd name="connsiteY40" fmla="*/ 151939 h 361971"/>
                    <a:gd name="connsiteX41" fmla="*/ 205756 w 362309"/>
                    <a:gd name="connsiteY41" fmla="*/ 123211 h 361971"/>
                    <a:gd name="connsiteX42" fmla="*/ 184669 w 362309"/>
                    <a:gd name="connsiteY42" fmla="*/ 102144 h 361971"/>
                    <a:gd name="connsiteX43" fmla="*/ 184669 w 362309"/>
                    <a:gd name="connsiteY43" fmla="*/ 93206 h 361971"/>
                    <a:gd name="connsiteX44" fmla="*/ 187225 w 362309"/>
                    <a:gd name="connsiteY44" fmla="*/ 90653 h 361971"/>
                    <a:gd name="connsiteX45" fmla="*/ 192976 w 362309"/>
                    <a:gd name="connsiteY45" fmla="*/ 88738 h 361971"/>
                    <a:gd name="connsiteX46" fmla="*/ 237706 w 362309"/>
                    <a:gd name="connsiteY46" fmla="*/ 99590 h 361971"/>
                    <a:gd name="connsiteX47" fmla="*/ 240901 w 362309"/>
                    <a:gd name="connsiteY47" fmla="*/ 101505 h 361971"/>
                    <a:gd name="connsiteX48" fmla="*/ 278601 w 362309"/>
                    <a:gd name="connsiteY48" fmla="*/ 139171 h 361971"/>
                    <a:gd name="connsiteX49" fmla="*/ 277962 w 362309"/>
                    <a:gd name="connsiteY49" fmla="*/ 149385 h 361971"/>
                    <a:gd name="connsiteX50" fmla="*/ 277962 w 362309"/>
                    <a:gd name="connsiteY50" fmla="*/ 149385 h 361971"/>
                    <a:gd name="connsiteX51" fmla="*/ 277962 w 362309"/>
                    <a:gd name="connsiteY51" fmla="*/ 14938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1077"/>
                        <a:pt x="281157" y="0"/>
                        <a:pt x="181474" y="0"/>
                      </a:cubicBezTo>
                      <a:cubicBezTo>
                        <a:pt x="181474" y="0"/>
                        <a:pt x="181474" y="0"/>
                        <a:pt x="181474" y="0"/>
                      </a:cubicBezTo>
                      <a:close/>
                      <a:moveTo>
                        <a:pt x="277962" y="149385"/>
                      </a:moveTo>
                      <a:lnTo>
                        <a:pt x="258792" y="168537"/>
                      </a:lnTo>
                      <a:cubicBezTo>
                        <a:pt x="256236" y="171091"/>
                        <a:pt x="252403" y="171091"/>
                        <a:pt x="249846" y="168537"/>
                      </a:cubicBezTo>
                      <a:cubicBezTo>
                        <a:pt x="249846" y="168537"/>
                        <a:pt x="249846" y="168537"/>
                        <a:pt x="249846" y="168537"/>
                      </a:cubicBezTo>
                      <a:lnTo>
                        <a:pt x="231316" y="150024"/>
                      </a:lnTo>
                      <a:lnTo>
                        <a:pt x="202561" y="178752"/>
                      </a:lnTo>
                      <a:lnTo>
                        <a:pt x="269655" y="246422"/>
                      </a:lnTo>
                      <a:cubicBezTo>
                        <a:pt x="276684" y="253444"/>
                        <a:pt x="276684" y="264297"/>
                        <a:pt x="269655" y="271319"/>
                      </a:cubicBezTo>
                      <a:cubicBezTo>
                        <a:pt x="269655" y="271319"/>
                        <a:pt x="269655" y="271319"/>
                        <a:pt x="269655" y="271319"/>
                      </a:cubicBezTo>
                      <a:lnTo>
                        <a:pt x="269655" y="271319"/>
                      </a:lnTo>
                      <a:cubicBezTo>
                        <a:pt x="266460" y="274511"/>
                        <a:pt x="261349" y="276427"/>
                        <a:pt x="256876" y="276427"/>
                      </a:cubicBezTo>
                      <a:cubicBezTo>
                        <a:pt x="252403" y="276427"/>
                        <a:pt x="247929" y="274511"/>
                        <a:pt x="244735" y="271319"/>
                      </a:cubicBezTo>
                      <a:lnTo>
                        <a:pt x="177640" y="204287"/>
                      </a:lnTo>
                      <a:lnTo>
                        <a:pt x="114380" y="267489"/>
                      </a:lnTo>
                      <a:cubicBezTo>
                        <a:pt x="111185" y="270681"/>
                        <a:pt x="106712" y="272596"/>
                        <a:pt x="102239" y="272596"/>
                      </a:cubicBezTo>
                      <a:cubicBezTo>
                        <a:pt x="97127" y="272596"/>
                        <a:pt x="92654" y="270681"/>
                        <a:pt x="88820" y="266851"/>
                      </a:cubicBezTo>
                      <a:cubicBezTo>
                        <a:pt x="85625" y="263659"/>
                        <a:pt x="83069" y="259190"/>
                        <a:pt x="83069" y="254083"/>
                      </a:cubicBezTo>
                      <a:cubicBezTo>
                        <a:pt x="83069" y="248975"/>
                        <a:pt x="84986" y="244507"/>
                        <a:pt x="88820" y="241315"/>
                      </a:cubicBezTo>
                      <a:lnTo>
                        <a:pt x="152080" y="178113"/>
                      </a:lnTo>
                      <a:lnTo>
                        <a:pt x="144412" y="170452"/>
                      </a:lnTo>
                      <a:cubicBezTo>
                        <a:pt x="121409" y="179390"/>
                        <a:pt x="95210" y="167899"/>
                        <a:pt x="86264" y="144916"/>
                      </a:cubicBezTo>
                      <a:cubicBezTo>
                        <a:pt x="83708" y="137894"/>
                        <a:pt x="82430" y="129595"/>
                        <a:pt x="83708" y="121934"/>
                      </a:cubicBezTo>
                      <a:cubicBezTo>
                        <a:pt x="84347" y="119381"/>
                        <a:pt x="85625" y="117465"/>
                        <a:pt x="88181" y="116827"/>
                      </a:cubicBezTo>
                      <a:cubicBezTo>
                        <a:pt x="90737" y="116189"/>
                        <a:pt x="92654" y="116827"/>
                        <a:pt x="94571" y="118104"/>
                      </a:cubicBezTo>
                      <a:lnTo>
                        <a:pt x="105434" y="128957"/>
                      </a:lnTo>
                      <a:cubicBezTo>
                        <a:pt x="111824" y="135341"/>
                        <a:pt x="122048" y="135341"/>
                        <a:pt x="128438" y="128957"/>
                      </a:cubicBezTo>
                      <a:cubicBezTo>
                        <a:pt x="131633" y="125765"/>
                        <a:pt x="132911" y="121934"/>
                        <a:pt x="132911" y="117465"/>
                      </a:cubicBezTo>
                      <a:cubicBezTo>
                        <a:pt x="132911" y="112997"/>
                        <a:pt x="130994" y="109166"/>
                        <a:pt x="128438" y="105974"/>
                      </a:cubicBezTo>
                      <a:lnTo>
                        <a:pt x="117575" y="95121"/>
                      </a:lnTo>
                      <a:cubicBezTo>
                        <a:pt x="115019" y="92568"/>
                        <a:pt x="115019" y="88738"/>
                        <a:pt x="117575" y="86184"/>
                      </a:cubicBezTo>
                      <a:cubicBezTo>
                        <a:pt x="118853" y="84907"/>
                        <a:pt x="119492" y="84269"/>
                        <a:pt x="121409" y="84269"/>
                      </a:cubicBezTo>
                      <a:cubicBezTo>
                        <a:pt x="145690" y="80438"/>
                        <a:pt x="168695" y="97675"/>
                        <a:pt x="172528" y="121934"/>
                      </a:cubicBezTo>
                      <a:cubicBezTo>
                        <a:pt x="173806" y="129595"/>
                        <a:pt x="172528" y="137894"/>
                        <a:pt x="169972" y="144916"/>
                      </a:cubicBezTo>
                      <a:lnTo>
                        <a:pt x="177001" y="151939"/>
                      </a:lnTo>
                      <a:lnTo>
                        <a:pt x="205756" y="123211"/>
                      </a:lnTo>
                      <a:lnTo>
                        <a:pt x="184669" y="102144"/>
                      </a:lnTo>
                      <a:cubicBezTo>
                        <a:pt x="182113" y="99590"/>
                        <a:pt x="182113" y="95760"/>
                        <a:pt x="184669" y="93206"/>
                      </a:cubicBezTo>
                      <a:lnTo>
                        <a:pt x="187225" y="90653"/>
                      </a:lnTo>
                      <a:cubicBezTo>
                        <a:pt x="188503" y="89376"/>
                        <a:pt x="191059" y="88738"/>
                        <a:pt x="192976" y="88738"/>
                      </a:cubicBezTo>
                      <a:lnTo>
                        <a:pt x="237706" y="99590"/>
                      </a:lnTo>
                      <a:cubicBezTo>
                        <a:pt x="238984" y="99590"/>
                        <a:pt x="239623" y="100229"/>
                        <a:pt x="240901" y="101505"/>
                      </a:cubicBezTo>
                      <a:lnTo>
                        <a:pt x="278601" y="139171"/>
                      </a:lnTo>
                      <a:cubicBezTo>
                        <a:pt x="280518" y="143001"/>
                        <a:pt x="280518" y="146832"/>
                        <a:pt x="277962" y="149385"/>
                      </a:cubicBezTo>
                      <a:cubicBezTo>
                        <a:pt x="277962" y="149385"/>
                        <a:pt x="277962" y="149385"/>
                        <a:pt x="277962" y="149385"/>
                      </a:cubicBezTo>
                      <a:lnTo>
                        <a:pt x="277962" y="149385"/>
                      </a:lnTo>
                      <a:close/>
                    </a:path>
                  </a:pathLst>
                </a:custGeom>
                <a:grpFill/>
                <a:ln w="6390" cap="flat">
                  <a:noFill/>
                  <a:prstDash val="solid"/>
                  <a:miter/>
                </a:ln>
              </p:spPr>
              <p:txBody>
                <a:bodyPr rtlCol="0" anchor="ctr">
                  <a:noAutofit/>
                </a:bodyPr>
                <a:lstStyle/>
                <a:p>
                  <a:endParaRPr lang="en-US" sz="2000" dirty="0"/>
                </a:p>
              </p:txBody>
            </p:sp>
          </p:grpSp>
          <p:grpSp>
            <p:nvGrpSpPr>
              <p:cNvPr id="369" name="Graphic 4">
                <a:extLst>
                  <a:ext uri="{FF2B5EF4-FFF2-40B4-BE49-F238E27FC236}">
                    <a16:creationId xmlns:a16="http://schemas.microsoft.com/office/drawing/2014/main" id="{56E192D4-E067-4353-B3E7-7263113D0FBD}"/>
                  </a:ext>
                </a:extLst>
              </p:cNvPr>
              <p:cNvGrpSpPr/>
              <p:nvPr/>
            </p:nvGrpSpPr>
            <p:grpSpPr>
              <a:xfrm>
                <a:off x="8357189" y="4569196"/>
                <a:ext cx="216000" cy="216000"/>
                <a:chOff x="11372170" y="3339623"/>
                <a:chExt cx="362309" cy="361971"/>
              </a:xfrm>
              <a:solidFill>
                <a:srgbClr val="004F59"/>
              </a:solidFill>
            </p:grpSpPr>
            <p:sp>
              <p:nvSpPr>
                <p:cNvPr id="372" name="Graphic 4">
                  <a:extLst>
                    <a:ext uri="{FF2B5EF4-FFF2-40B4-BE49-F238E27FC236}">
                      <a16:creationId xmlns:a16="http://schemas.microsoft.com/office/drawing/2014/main" id="{3CDAA9E3-0FC6-4076-B75D-FE676CB5883B}"/>
                    </a:ext>
                  </a:extLst>
                </p:cNvPr>
                <p:cNvSpPr/>
                <p:nvPr/>
              </p:nvSpPr>
              <p:spPr>
                <a:xfrm>
                  <a:off x="11372170" y="333962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5216 w 362309"/>
                    <a:gd name="connsiteY6" fmla="*/ 238761 h 361971"/>
                    <a:gd name="connsiteX7" fmla="*/ 280518 w 362309"/>
                    <a:gd name="connsiteY7" fmla="*/ 270042 h 361971"/>
                    <a:gd name="connsiteX8" fmla="*/ 279880 w 362309"/>
                    <a:gd name="connsiteY8" fmla="*/ 271319 h 361971"/>
                    <a:gd name="connsiteX9" fmla="*/ 181474 w 362309"/>
                    <a:gd name="connsiteY9" fmla="*/ 280895 h 361971"/>
                    <a:gd name="connsiteX10" fmla="*/ 83069 w 362309"/>
                    <a:gd name="connsiteY10" fmla="*/ 271319 h 361971"/>
                    <a:gd name="connsiteX11" fmla="*/ 82430 w 362309"/>
                    <a:gd name="connsiteY11" fmla="*/ 270042 h 361971"/>
                    <a:gd name="connsiteX12" fmla="*/ 67734 w 362309"/>
                    <a:gd name="connsiteY12" fmla="*/ 238761 h 361971"/>
                    <a:gd name="connsiteX13" fmla="*/ 68373 w 362309"/>
                    <a:gd name="connsiteY13" fmla="*/ 213225 h 361971"/>
                    <a:gd name="connsiteX14" fmla="*/ 72845 w 362309"/>
                    <a:gd name="connsiteY14" fmla="*/ 208756 h 361971"/>
                    <a:gd name="connsiteX15" fmla="*/ 90738 w 362309"/>
                    <a:gd name="connsiteY15" fmla="*/ 203011 h 361971"/>
                    <a:gd name="connsiteX16" fmla="*/ 90738 w 362309"/>
                    <a:gd name="connsiteY16" fmla="*/ 192796 h 361971"/>
                    <a:gd name="connsiteX17" fmla="*/ 121409 w 362309"/>
                    <a:gd name="connsiteY17" fmla="*/ 118104 h 361971"/>
                    <a:gd name="connsiteX18" fmla="*/ 121409 w 362309"/>
                    <a:gd name="connsiteY18" fmla="*/ 112997 h 361971"/>
                    <a:gd name="connsiteX19" fmla="*/ 125243 w 362309"/>
                    <a:gd name="connsiteY19" fmla="*/ 107251 h 361971"/>
                    <a:gd name="connsiteX20" fmla="*/ 133550 w 362309"/>
                    <a:gd name="connsiteY20" fmla="*/ 102782 h 361971"/>
                    <a:gd name="connsiteX21" fmla="*/ 160388 w 362309"/>
                    <a:gd name="connsiteY21" fmla="*/ 91930 h 361971"/>
                    <a:gd name="connsiteX22" fmla="*/ 160388 w 362309"/>
                    <a:gd name="connsiteY22" fmla="*/ 88738 h 361971"/>
                    <a:gd name="connsiteX23" fmla="*/ 166778 w 362309"/>
                    <a:gd name="connsiteY23" fmla="*/ 82354 h 361971"/>
                    <a:gd name="connsiteX24" fmla="*/ 197449 w 362309"/>
                    <a:gd name="connsiteY24" fmla="*/ 82354 h 361971"/>
                    <a:gd name="connsiteX25" fmla="*/ 203839 w 362309"/>
                    <a:gd name="connsiteY25" fmla="*/ 88738 h 361971"/>
                    <a:gd name="connsiteX26" fmla="*/ 203839 w 362309"/>
                    <a:gd name="connsiteY26" fmla="*/ 91930 h 361971"/>
                    <a:gd name="connsiteX27" fmla="*/ 230677 w 362309"/>
                    <a:gd name="connsiteY27" fmla="*/ 102782 h 361971"/>
                    <a:gd name="connsiteX28" fmla="*/ 238984 w 362309"/>
                    <a:gd name="connsiteY28" fmla="*/ 107251 h 361971"/>
                    <a:gd name="connsiteX29" fmla="*/ 242818 w 362309"/>
                    <a:gd name="connsiteY29" fmla="*/ 112997 h 361971"/>
                    <a:gd name="connsiteX30" fmla="*/ 242818 w 362309"/>
                    <a:gd name="connsiteY30" fmla="*/ 118104 h 361971"/>
                    <a:gd name="connsiteX31" fmla="*/ 273490 w 362309"/>
                    <a:gd name="connsiteY31" fmla="*/ 192796 h 361971"/>
                    <a:gd name="connsiteX32" fmla="*/ 273490 w 362309"/>
                    <a:gd name="connsiteY32" fmla="*/ 203011 h 361971"/>
                    <a:gd name="connsiteX33" fmla="*/ 291382 w 362309"/>
                    <a:gd name="connsiteY33" fmla="*/ 208756 h 361971"/>
                    <a:gd name="connsiteX34" fmla="*/ 295854 w 362309"/>
                    <a:gd name="connsiteY34" fmla="*/ 213225 h 361971"/>
                    <a:gd name="connsiteX35" fmla="*/ 295216 w 362309"/>
                    <a:gd name="connsiteY35" fmla="*/ 238761 h 361971"/>
                    <a:gd name="connsiteX36" fmla="*/ 295216 w 362309"/>
                    <a:gd name="connsiteY36" fmla="*/ 23876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295216" y="238761"/>
                      </a:moveTo>
                      <a:cubicBezTo>
                        <a:pt x="291382" y="249614"/>
                        <a:pt x="286270" y="259828"/>
                        <a:pt x="280518" y="270042"/>
                      </a:cubicBezTo>
                      <a:cubicBezTo>
                        <a:pt x="280518" y="270681"/>
                        <a:pt x="279880" y="270681"/>
                        <a:pt x="279880" y="271319"/>
                      </a:cubicBezTo>
                      <a:cubicBezTo>
                        <a:pt x="272212" y="279618"/>
                        <a:pt x="214703" y="280895"/>
                        <a:pt x="181474" y="280895"/>
                      </a:cubicBezTo>
                      <a:cubicBezTo>
                        <a:pt x="148247" y="280895"/>
                        <a:pt x="90738" y="279618"/>
                        <a:pt x="83069" y="271319"/>
                      </a:cubicBezTo>
                      <a:cubicBezTo>
                        <a:pt x="82430" y="270681"/>
                        <a:pt x="82430" y="270681"/>
                        <a:pt x="82430" y="270042"/>
                      </a:cubicBezTo>
                      <a:cubicBezTo>
                        <a:pt x="76679" y="259828"/>
                        <a:pt x="71568" y="249614"/>
                        <a:pt x="67734" y="238761"/>
                      </a:cubicBezTo>
                      <a:cubicBezTo>
                        <a:pt x="65817" y="230462"/>
                        <a:pt x="66456" y="221524"/>
                        <a:pt x="68373" y="213225"/>
                      </a:cubicBezTo>
                      <a:cubicBezTo>
                        <a:pt x="69012" y="211310"/>
                        <a:pt x="70289" y="209395"/>
                        <a:pt x="72845" y="208756"/>
                      </a:cubicBezTo>
                      <a:lnTo>
                        <a:pt x="90738" y="203011"/>
                      </a:lnTo>
                      <a:lnTo>
                        <a:pt x="90738" y="192796"/>
                      </a:lnTo>
                      <a:cubicBezTo>
                        <a:pt x="91376" y="164707"/>
                        <a:pt x="102879" y="138533"/>
                        <a:pt x="121409" y="118104"/>
                      </a:cubicBezTo>
                      <a:lnTo>
                        <a:pt x="121409" y="112997"/>
                      </a:lnTo>
                      <a:cubicBezTo>
                        <a:pt x="121409" y="110443"/>
                        <a:pt x="122687" y="108528"/>
                        <a:pt x="125243" y="107251"/>
                      </a:cubicBezTo>
                      <a:lnTo>
                        <a:pt x="133550" y="102782"/>
                      </a:lnTo>
                      <a:cubicBezTo>
                        <a:pt x="141857" y="97675"/>
                        <a:pt x="151442" y="93845"/>
                        <a:pt x="160388" y="91930"/>
                      </a:cubicBezTo>
                      <a:lnTo>
                        <a:pt x="160388" y="88738"/>
                      </a:lnTo>
                      <a:cubicBezTo>
                        <a:pt x="160388" y="84907"/>
                        <a:pt x="162943" y="82354"/>
                        <a:pt x="166778" y="82354"/>
                      </a:cubicBezTo>
                      <a:lnTo>
                        <a:pt x="197449" y="82354"/>
                      </a:lnTo>
                      <a:cubicBezTo>
                        <a:pt x="201283" y="82354"/>
                        <a:pt x="203839" y="84907"/>
                        <a:pt x="203839" y="88738"/>
                      </a:cubicBezTo>
                      <a:lnTo>
                        <a:pt x="203839" y="91930"/>
                      </a:lnTo>
                      <a:cubicBezTo>
                        <a:pt x="213424" y="94483"/>
                        <a:pt x="222370" y="97675"/>
                        <a:pt x="230677" y="102782"/>
                      </a:cubicBezTo>
                      <a:lnTo>
                        <a:pt x="238984" y="107251"/>
                      </a:lnTo>
                      <a:cubicBezTo>
                        <a:pt x="240901" y="108528"/>
                        <a:pt x="242179" y="110443"/>
                        <a:pt x="242818" y="112997"/>
                      </a:cubicBezTo>
                      <a:lnTo>
                        <a:pt x="242818" y="118104"/>
                      </a:lnTo>
                      <a:cubicBezTo>
                        <a:pt x="261987" y="138533"/>
                        <a:pt x="272851" y="165345"/>
                        <a:pt x="273490" y="192796"/>
                      </a:cubicBezTo>
                      <a:lnTo>
                        <a:pt x="273490" y="203011"/>
                      </a:lnTo>
                      <a:lnTo>
                        <a:pt x="291382" y="208756"/>
                      </a:lnTo>
                      <a:cubicBezTo>
                        <a:pt x="293298" y="209395"/>
                        <a:pt x="295216" y="211310"/>
                        <a:pt x="295854" y="213225"/>
                      </a:cubicBezTo>
                      <a:cubicBezTo>
                        <a:pt x="297132" y="221524"/>
                        <a:pt x="297132" y="229823"/>
                        <a:pt x="295216" y="238761"/>
                      </a:cubicBezTo>
                      <a:lnTo>
                        <a:pt x="295216" y="238761"/>
                      </a:lnTo>
                      <a:close/>
                    </a:path>
                  </a:pathLst>
                </a:custGeom>
                <a:grpFill/>
                <a:ln w="6390" cap="flat">
                  <a:noFill/>
                  <a:prstDash val="solid"/>
                  <a:miter/>
                </a:ln>
              </p:spPr>
              <p:txBody>
                <a:bodyPr rtlCol="0" anchor="ctr">
                  <a:noAutofit/>
                </a:bodyPr>
                <a:lstStyle/>
                <a:p>
                  <a:endParaRPr lang="en-US" sz="2000" dirty="0"/>
                </a:p>
              </p:txBody>
            </p:sp>
            <p:sp>
              <p:nvSpPr>
                <p:cNvPr id="373" name="Graphic 4">
                  <a:extLst>
                    <a:ext uri="{FF2B5EF4-FFF2-40B4-BE49-F238E27FC236}">
                      <a16:creationId xmlns:a16="http://schemas.microsoft.com/office/drawing/2014/main" id="{58C188F8-9654-4920-82AE-4080BE1A45C3}"/>
                    </a:ext>
                  </a:extLst>
                </p:cNvPr>
                <p:cNvSpPr/>
                <p:nvPr/>
              </p:nvSpPr>
              <p:spPr>
                <a:xfrm>
                  <a:off x="11521056" y="3519652"/>
                  <a:ext cx="65177" cy="65116"/>
                </a:xfrm>
                <a:custGeom>
                  <a:avLst/>
                  <a:gdLst>
                    <a:gd name="connsiteX0" fmla="*/ 32589 w 65177"/>
                    <a:gd name="connsiteY0" fmla="*/ 0 h 65116"/>
                    <a:gd name="connsiteX1" fmla="*/ 0 w 65177"/>
                    <a:gd name="connsiteY1" fmla="*/ 32558 h 65116"/>
                    <a:gd name="connsiteX2" fmla="*/ 32589 w 65177"/>
                    <a:gd name="connsiteY2" fmla="*/ 65117 h 65116"/>
                    <a:gd name="connsiteX3" fmla="*/ 65177 w 65177"/>
                    <a:gd name="connsiteY3" fmla="*/ 32558 h 65116"/>
                    <a:gd name="connsiteX4" fmla="*/ 32589 w 65177"/>
                    <a:gd name="connsiteY4" fmla="*/ 0 h 65116"/>
                    <a:gd name="connsiteX5" fmla="*/ 32589 w 65177"/>
                    <a:gd name="connsiteY5" fmla="*/ 53625 h 65116"/>
                    <a:gd name="connsiteX6" fmla="*/ 10863 w 65177"/>
                    <a:gd name="connsiteY6" fmla="*/ 31920 h 65116"/>
                    <a:gd name="connsiteX7" fmla="*/ 32589 w 65177"/>
                    <a:gd name="connsiteY7" fmla="*/ 10214 h 65116"/>
                    <a:gd name="connsiteX8" fmla="*/ 54314 w 65177"/>
                    <a:gd name="connsiteY8" fmla="*/ 31920 h 65116"/>
                    <a:gd name="connsiteX9" fmla="*/ 54314 w 65177"/>
                    <a:gd name="connsiteY9" fmla="*/ 31920 h 65116"/>
                    <a:gd name="connsiteX10" fmla="*/ 32589 w 65177"/>
                    <a:gd name="connsiteY10" fmla="*/ 53625 h 65116"/>
                    <a:gd name="connsiteX11" fmla="*/ 32589 w 65177"/>
                    <a:gd name="connsiteY11" fmla="*/ 53625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177" h="65116">
                      <a:moveTo>
                        <a:pt x="32589" y="0"/>
                      </a:moveTo>
                      <a:cubicBezTo>
                        <a:pt x="14697" y="0"/>
                        <a:pt x="0" y="14683"/>
                        <a:pt x="0" y="32558"/>
                      </a:cubicBezTo>
                      <a:cubicBezTo>
                        <a:pt x="0" y="50433"/>
                        <a:pt x="14697" y="65117"/>
                        <a:pt x="32589" y="65117"/>
                      </a:cubicBezTo>
                      <a:cubicBezTo>
                        <a:pt x="50481" y="65117"/>
                        <a:pt x="65177" y="50433"/>
                        <a:pt x="65177" y="32558"/>
                      </a:cubicBezTo>
                      <a:cubicBezTo>
                        <a:pt x="64538" y="14045"/>
                        <a:pt x="49842" y="0"/>
                        <a:pt x="32589" y="0"/>
                      </a:cubicBezTo>
                      <a:close/>
                      <a:moveTo>
                        <a:pt x="32589" y="53625"/>
                      </a:moveTo>
                      <a:cubicBezTo>
                        <a:pt x="20447" y="53625"/>
                        <a:pt x="10863" y="44049"/>
                        <a:pt x="10863" y="31920"/>
                      </a:cubicBezTo>
                      <a:cubicBezTo>
                        <a:pt x="10863" y="19790"/>
                        <a:pt x="20447" y="10214"/>
                        <a:pt x="32589" y="10214"/>
                      </a:cubicBezTo>
                      <a:cubicBezTo>
                        <a:pt x="44730" y="10214"/>
                        <a:pt x="54314" y="19790"/>
                        <a:pt x="54314" y="31920"/>
                      </a:cubicBezTo>
                      <a:cubicBezTo>
                        <a:pt x="54314" y="31920"/>
                        <a:pt x="54314" y="31920"/>
                        <a:pt x="54314" y="31920"/>
                      </a:cubicBezTo>
                      <a:cubicBezTo>
                        <a:pt x="54314" y="44049"/>
                        <a:pt x="44091" y="53625"/>
                        <a:pt x="32589" y="53625"/>
                      </a:cubicBezTo>
                      <a:lnTo>
                        <a:pt x="32589" y="53625"/>
                      </a:lnTo>
                      <a:close/>
                    </a:path>
                  </a:pathLst>
                </a:custGeom>
                <a:grpFill/>
                <a:ln w="6390" cap="flat">
                  <a:noFill/>
                  <a:prstDash val="solid"/>
                  <a:miter/>
                </a:ln>
              </p:spPr>
              <p:txBody>
                <a:bodyPr rtlCol="0" anchor="ctr">
                  <a:noAutofit/>
                </a:bodyPr>
                <a:lstStyle/>
                <a:p>
                  <a:endParaRPr lang="en-US" sz="2000" dirty="0"/>
                </a:p>
              </p:txBody>
            </p:sp>
            <p:sp>
              <p:nvSpPr>
                <p:cNvPr id="374" name="Graphic 4">
                  <a:extLst>
                    <a:ext uri="{FF2B5EF4-FFF2-40B4-BE49-F238E27FC236}">
                      <a16:creationId xmlns:a16="http://schemas.microsoft.com/office/drawing/2014/main" id="{736601EE-192B-4FC9-96FA-C317C1DF5F30}"/>
                    </a:ext>
                  </a:extLst>
                </p:cNvPr>
                <p:cNvSpPr/>
                <p:nvPr/>
              </p:nvSpPr>
              <p:spPr>
                <a:xfrm>
                  <a:off x="11544699" y="3542634"/>
                  <a:ext cx="17892" cy="17875"/>
                </a:xfrm>
                <a:custGeom>
                  <a:avLst/>
                  <a:gdLst>
                    <a:gd name="connsiteX0" fmla="*/ 8946 w 17892"/>
                    <a:gd name="connsiteY0" fmla="*/ 0 h 17875"/>
                    <a:gd name="connsiteX1" fmla="*/ 0 w 17892"/>
                    <a:gd name="connsiteY1" fmla="*/ 8938 h 17875"/>
                    <a:gd name="connsiteX2" fmla="*/ 8946 w 17892"/>
                    <a:gd name="connsiteY2" fmla="*/ 17875 h 17875"/>
                    <a:gd name="connsiteX3" fmla="*/ 17892 w 17892"/>
                    <a:gd name="connsiteY3" fmla="*/ 8938 h 17875"/>
                    <a:gd name="connsiteX4" fmla="*/ 17892 w 17892"/>
                    <a:gd name="connsiteY4" fmla="*/ 8938 h 17875"/>
                    <a:gd name="connsiteX5" fmla="*/ 8946 w 17892"/>
                    <a:gd name="connsiteY5" fmla="*/ 0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2" h="17875">
                      <a:moveTo>
                        <a:pt x="8946" y="0"/>
                      </a:moveTo>
                      <a:cubicBezTo>
                        <a:pt x="3835" y="0"/>
                        <a:pt x="0" y="3831"/>
                        <a:pt x="0" y="8938"/>
                      </a:cubicBezTo>
                      <a:cubicBezTo>
                        <a:pt x="0" y="14045"/>
                        <a:pt x="3835" y="17875"/>
                        <a:pt x="8946" y="17875"/>
                      </a:cubicBezTo>
                      <a:cubicBezTo>
                        <a:pt x="14058" y="17875"/>
                        <a:pt x="17892" y="14045"/>
                        <a:pt x="17892" y="8938"/>
                      </a:cubicBezTo>
                      <a:cubicBezTo>
                        <a:pt x="17892" y="8938"/>
                        <a:pt x="17892" y="8938"/>
                        <a:pt x="17892" y="8938"/>
                      </a:cubicBezTo>
                      <a:cubicBezTo>
                        <a:pt x="17892" y="3831"/>
                        <a:pt x="13419" y="0"/>
                        <a:pt x="8946" y="0"/>
                      </a:cubicBezTo>
                      <a:close/>
                    </a:path>
                  </a:pathLst>
                </a:custGeom>
                <a:grpFill/>
                <a:ln w="6390" cap="flat">
                  <a:noFill/>
                  <a:prstDash val="solid"/>
                  <a:miter/>
                </a:ln>
              </p:spPr>
              <p:txBody>
                <a:bodyPr rtlCol="0" anchor="ctr">
                  <a:noAutofit/>
                </a:bodyPr>
                <a:lstStyle/>
                <a:p>
                  <a:endParaRPr lang="en-US" sz="2000" dirty="0"/>
                </a:p>
              </p:txBody>
            </p:sp>
            <p:sp>
              <p:nvSpPr>
                <p:cNvPr id="375" name="Graphic 4">
                  <a:extLst>
                    <a:ext uri="{FF2B5EF4-FFF2-40B4-BE49-F238E27FC236}">
                      <a16:creationId xmlns:a16="http://schemas.microsoft.com/office/drawing/2014/main" id="{1D921A5A-3E64-4E32-829A-432ED3401B50}"/>
                    </a:ext>
                  </a:extLst>
                </p:cNvPr>
                <p:cNvSpPr/>
                <p:nvPr/>
              </p:nvSpPr>
              <p:spPr>
                <a:xfrm>
                  <a:off x="11473132" y="3434106"/>
                  <a:ext cx="158470" cy="132786"/>
                </a:xfrm>
                <a:custGeom>
                  <a:avLst/>
                  <a:gdLst>
                    <a:gd name="connsiteX0" fmla="*/ 35145 w 158470"/>
                    <a:gd name="connsiteY0" fmla="*/ 117465 h 132786"/>
                    <a:gd name="connsiteX1" fmla="*/ 79874 w 158470"/>
                    <a:gd name="connsiteY1" fmla="*/ 72139 h 132786"/>
                    <a:gd name="connsiteX2" fmla="*/ 125243 w 158470"/>
                    <a:gd name="connsiteY2" fmla="*/ 116827 h 132786"/>
                    <a:gd name="connsiteX3" fmla="*/ 122048 w 158470"/>
                    <a:gd name="connsiteY3" fmla="*/ 132787 h 132786"/>
                    <a:gd name="connsiteX4" fmla="*/ 158471 w 158470"/>
                    <a:gd name="connsiteY4" fmla="*/ 121934 h 132786"/>
                    <a:gd name="connsiteX5" fmla="*/ 158471 w 158470"/>
                    <a:gd name="connsiteY5" fmla="*/ 97037 h 132786"/>
                    <a:gd name="connsiteX6" fmla="*/ 140579 w 158470"/>
                    <a:gd name="connsiteY6" fmla="*/ 42773 h 132786"/>
                    <a:gd name="connsiteX7" fmla="*/ 140579 w 158470"/>
                    <a:gd name="connsiteY7" fmla="*/ 89376 h 132786"/>
                    <a:gd name="connsiteX8" fmla="*/ 134189 w 158470"/>
                    <a:gd name="connsiteY8" fmla="*/ 95760 h 132786"/>
                    <a:gd name="connsiteX9" fmla="*/ 127799 w 158470"/>
                    <a:gd name="connsiteY9" fmla="*/ 89376 h 132786"/>
                    <a:gd name="connsiteX10" fmla="*/ 127799 w 158470"/>
                    <a:gd name="connsiteY10" fmla="*/ 21067 h 132786"/>
                    <a:gd name="connsiteX11" fmla="*/ 122686 w 158470"/>
                    <a:gd name="connsiteY11" fmla="*/ 18514 h 132786"/>
                    <a:gd name="connsiteX12" fmla="*/ 101600 w 158470"/>
                    <a:gd name="connsiteY12" fmla="*/ 9576 h 132786"/>
                    <a:gd name="connsiteX13" fmla="*/ 101600 w 158470"/>
                    <a:gd name="connsiteY13" fmla="*/ 43411 h 132786"/>
                    <a:gd name="connsiteX14" fmla="*/ 106712 w 158470"/>
                    <a:gd name="connsiteY14" fmla="*/ 51710 h 132786"/>
                    <a:gd name="connsiteX15" fmla="*/ 105434 w 158470"/>
                    <a:gd name="connsiteY15" fmla="*/ 60648 h 132786"/>
                    <a:gd name="connsiteX16" fmla="*/ 96488 w 158470"/>
                    <a:gd name="connsiteY16" fmla="*/ 59371 h 132786"/>
                    <a:gd name="connsiteX17" fmla="*/ 95849 w 158470"/>
                    <a:gd name="connsiteY17" fmla="*/ 58733 h 132786"/>
                    <a:gd name="connsiteX18" fmla="*/ 89459 w 158470"/>
                    <a:gd name="connsiteY18" fmla="*/ 49157 h 132786"/>
                    <a:gd name="connsiteX19" fmla="*/ 88181 w 158470"/>
                    <a:gd name="connsiteY19" fmla="*/ 45965 h 132786"/>
                    <a:gd name="connsiteX20" fmla="*/ 88181 w 158470"/>
                    <a:gd name="connsiteY20" fmla="*/ 0 h 132786"/>
                    <a:gd name="connsiteX21" fmla="*/ 70289 w 158470"/>
                    <a:gd name="connsiteY21" fmla="*/ 0 h 132786"/>
                    <a:gd name="connsiteX22" fmla="*/ 70289 w 158470"/>
                    <a:gd name="connsiteY22" fmla="*/ 1277 h 132786"/>
                    <a:gd name="connsiteX23" fmla="*/ 70289 w 158470"/>
                    <a:gd name="connsiteY23" fmla="*/ 1915 h 132786"/>
                    <a:gd name="connsiteX24" fmla="*/ 70289 w 158470"/>
                    <a:gd name="connsiteY24" fmla="*/ 2554 h 132786"/>
                    <a:gd name="connsiteX25" fmla="*/ 70289 w 158470"/>
                    <a:gd name="connsiteY25" fmla="*/ 45965 h 132786"/>
                    <a:gd name="connsiteX26" fmla="*/ 69012 w 158470"/>
                    <a:gd name="connsiteY26" fmla="*/ 49157 h 132786"/>
                    <a:gd name="connsiteX27" fmla="*/ 62622 w 158470"/>
                    <a:gd name="connsiteY27" fmla="*/ 58733 h 132786"/>
                    <a:gd name="connsiteX28" fmla="*/ 53676 w 158470"/>
                    <a:gd name="connsiteY28" fmla="*/ 60648 h 132786"/>
                    <a:gd name="connsiteX29" fmla="*/ 51758 w 158470"/>
                    <a:gd name="connsiteY29" fmla="*/ 51710 h 132786"/>
                    <a:gd name="connsiteX30" fmla="*/ 56871 w 158470"/>
                    <a:gd name="connsiteY30" fmla="*/ 43411 h 132786"/>
                    <a:gd name="connsiteX31" fmla="*/ 56871 w 158470"/>
                    <a:gd name="connsiteY31" fmla="*/ 9576 h 132786"/>
                    <a:gd name="connsiteX32" fmla="*/ 35783 w 158470"/>
                    <a:gd name="connsiteY32" fmla="*/ 18514 h 132786"/>
                    <a:gd name="connsiteX33" fmla="*/ 30672 w 158470"/>
                    <a:gd name="connsiteY33" fmla="*/ 21067 h 132786"/>
                    <a:gd name="connsiteX34" fmla="*/ 30672 w 158470"/>
                    <a:gd name="connsiteY34" fmla="*/ 89376 h 132786"/>
                    <a:gd name="connsiteX35" fmla="*/ 24282 w 158470"/>
                    <a:gd name="connsiteY35" fmla="*/ 95760 h 132786"/>
                    <a:gd name="connsiteX36" fmla="*/ 17892 w 158470"/>
                    <a:gd name="connsiteY36" fmla="*/ 89376 h 132786"/>
                    <a:gd name="connsiteX37" fmla="*/ 17892 w 158470"/>
                    <a:gd name="connsiteY37" fmla="*/ 42773 h 132786"/>
                    <a:gd name="connsiteX38" fmla="*/ 0 w 158470"/>
                    <a:gd name="connsiteY38" fmla="*/ 97037 h 132786"/>
                    <a:gd name="connsiteX39" fmla="*/ 0 w 158470"/>
                    <a:gd name="connsiteY39" fmla="*/ 121934 h 132786"/>
                    <a:gd name="connsiteX40" fmla="*/ 36422 w 158470"/>
                    <a:gd name="connsiteY40" fmla="*/ 132787 h 132786"/>
                    <a:gd name="connsiteX41" fmla="*/ 35145 w 158470"/>
                    <a:gd name="connsiteY41" fmla="*/ 117465 h 13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8470" h="132786">
                      <a:moveTo>
                        <a:pt x="35145" y="117465"/>
                      </a:moveTo>
                      <a:cubicBezTo>
                        <a:pt x="35145" y="92568"/>
                        <a:pt x="54953" y="72139"/>
                        <a:pt x="79874" y="72139"/>
                      </a:cubicBezTo>
                      <a:cubicBezTo>
                        <a:pt x="104795" y="72139"/>
                        <a:pt x="125243" y="91930"/>
                        <a:pt x="125243" y="116827"/>
                      </a:cubicBezTo>
                      <a:cubicBezTo>
                        <a:pt x="125243" y="122573"/>
                        <a:pt x="123965" y="127680"/>
                        <a:pt x="122048" y="132787"/>
                      </a:cubicBezTo>
                      <a:cubicBezTo>
                        <a:pt x="145691" y="129595"/>
                        <a:pt x="155276" y="124488"/>
                        <a:pt x="158471" y="121934"/>
                      </a:cubicBezTo>
                      <a:lnTo>
                        <a:pt x="158471" y="97037"/>
                      </a:lnTo>
                      <a:cubicBezTo>
                        <a:pt x="157831" y="77246"/>
                        <a:pt x="151441" y="58733"/>
                        <a:pt x="140579" y="42773"/>
                      </a:cubicBezTo>
                      <a:lnTo>
                        <a:pt x="140579" y="89376"/>
                      </a:lnTo>
                      <a:cubicBezTo>
                        <a:pt x="140579" y="93206"/>
                        <a:pt x="138022" y="95760"/>
                        <a:pt x="134189" y="95760"/>
                      </a:cubicBezTo>
                      <a:cubicBezTo>
                        <a:pt x="130355" y="95760"/>
                        <a:pt x="127799" y="93206"/>
                        <a:pt x="127799" y="89376"/>
                      </a:cubicBezTo>
                      <a:lnTo>
                        <a:pt x="127799" y="21067"/>
                      </a:lnTo>
                      <a:lnTo>
                        <a:pt x="122686" y="18514"/>
                      </a:lnTo>
                      <a:cubicBezTo>
                        <a:pt x="116297" y="14683"/>
                        <a:pt x="108629" y="11491"/>
                        <a:pt x="101600" y="9576"/>
                      </a:cubicBezTo>
                      <a:lnTo>
                        <a:pt x="101600" y="43411"/>
                      </a:lnTo>
                      <a:lnTo>
                        <a:pt x="106712" y="51710"/>
                      </a:lnTo>
                      <a:cubicBezTo>
                        <a:pt x="108629" y="54264"/>
                        <a:pt x="107990" y="58733"/>
                        <a:pt x="105434" y="60648"/>
                      </a:cubicBezTo>
                      <a:cubicBezTo>
                        <a:pt x="102878" y="62563"/>
                        <a:pt x="98405" y="61925"/>
                        <a:pt x="96488" y="59371"/>
                      </a:cubicBezTo>
                      <a:cubicBezTo>
                        <a:pt x="96488" y="59371"/>
                        <a:pt x="95849" y="58733"/>
                        <a:pt x="95849" y="58733"/>
                      </a:cubicBezTo>
                      <a:lnTo>
                        <a:pt x="89459" y="49157"/>
                      </a:lnTo>
                      <a:cubicBezTo>
                        <a:pt x="88820" y="47880"/>
                        <a:pt x="88181" y="47242"/>
                        <a:pt x="88181" y="45965"/>
                      </a:cubicBezTo>
                      <a:lnTo>
                        <a:pt x="88181" y="0"/>
                      </a:lnTo>
                      <a:lnTo>
                        <a:pt x="70289" y="0"/>
                      </a:lnTo>
                      <a:lnTo>
                        <a:pt x="70289" y="1277"/>
                      </a:lnTo>
                      <a:cubicBezTo>
                        <a:pt x="70289" y="1277"/>
                        <a:pt x="70289" y="1277"/>
                        <a:pt x="70289" y="1915"/>
                      </a:cubicBezTo>
                      <a:cubicBezTo>
                        <a:pt x="70289" y="2554"/>
                        <a:pt x="70289" y="1915"/>
                        <a:pt x="70289" y="2554"/>
                      </a:cubicBezTo>
                      <a:lnTo>
                        <a:pt x="70289" y="45965"/>
                      </a:lnTo>
                      <a:cubicBezTo>
                        <a:pt x="70289" y="47242"/>
                        <a:pt x="69650" y="48519"/>
                        <a:pt x="69012" y="49157"/>
                      </a:cubicBezTo>
                      <a:lnTo>
                        <a:pt x="62622" y="58733"/>
                      </a:lnTo>
                      <a:cubicBezTo>
                        <a:pt x="60704" y="61925"/>
                        <a:pt x="56871" y="62563"/>
                        <a:pt x="53676" y="60648"/>
                      </a:cubicBezTo>
                      <a:cubicBezTo>
                        <a:pt x="50481" y="58733"/>
                        <a:pt x="49842" y="54902"/>
                        <a:pt x="51758" y="51710"/>
                      </a:cubicBezTo>
                      <a:lnTo>
                        <a:pt x="56871" y="43411"/>
                      </a:lnTo>
                      <a:lnTo>
                        <a:pt x="56871" y="9576"/>
                      </a:lnTo>
                      <a:cubicBezTo>
                        <a:pt x="49202" y="11491"/>
                        <a:pt x="42173" y="14683"/>
                        <a:pt x="35783" y="18514"/>
                      </a:cubicBezTo>
                      <a:lnTo>
                        <a:pt x="30672" y="21067"/>
                      </a:lnTo>
                      <a:lnTo>
                        <a:pt x="30672" y="89376"/>
                      </a:lnTo>
                      <a:cubicBezTo>
                        <a:pt x="30672" y="93206"/>
                        <a:pt x="28116" y="95760"/>
                        <a:pt x="24282" y="95760"/>
                      </a:cubicBezTo>
                      <a:cubicBezTo>
                        <a:pt x="20447" y="95760"/>
                        <a:pt x="17892" y="93206"/>
                        <a:pt x="17892" y="89376"/>
                      </a:cubicBezTo>
                      <a:lnTo>
                        <a:pt x="17892" y="42773"/>
                      </a:lnTo>
                      <a:cubicBezTo>
                        <a:pt x="6390" y="58733"/>
                        <a:pt x="0" y="77885"/>
                        <a:pt x="0" y="97037"/>
                      </a:cubicBezTo>
                      <a:lnTo>
                        <a:pt x="0" y="121934"/>
                      </a:lnTo>
                      <a:cubicBezTo>
                        <a:pt x="3195" y="123849"/>
                        <a:pt x="12780" y="129595"/>
                        <a:pt x="36422" y="132787"/>
                      </a:cubicBezTo>
                      <a:cubicBezTo>
                        <a:pt x="35783" y="128318"/>
                        <a:pt x="35145" y="123211"/>
                        <a:pt x="35145" y="117465"/>
                      </a:cubicBezTo>
                      <a:close/>
                    </a:path>
                  </a:pathLst>
                </a:custGeom>
                <a:grpFill/>
                <a:ln w="6390" cap="flat">
                  <a:noFill/>
                  <a:prstDash val="solid"/>
                  <a:miter/>
                </a:ln>
              </p:spPr>
              <p:txBody>
                <a:bodyPr rtlCol="0" anchor="ctr">
                  <a:noAutofit/>
                </a:bodyPr>
                <a:lstStyle/>
                <a:p>
                  <a:endParaRPr lang="en-US" sz="2000" dirty="0"/>
                </a:p>
              </p:txBody>
            </p:sp>
            <p:sp>
              <p:nvSpPr>
                <p:cNvPr id="376" name="Graphic 4">
                  <a:extLst>
                    <a:ext uri="{FF2B5EF4-FFF2-40B4-BE49-F238E27FC236}">
                      <a16:creationId xmlns:a16="http://schemas.microsoft.com/office/drawing/2014/main" id="{0C23BF40-B5DB-4CE6-AC92-E8B678AD9486}"/>
                    </a:ext>
                  </a:extLst>
                </p:cNvPr>
                <p:cNvSpPr/>
                <p:nvPr/>
              </p:nvSpPr>
              <p:spPr>
                <a:xfrm>
                  <a:off x="11450927" y="3555402"/>
                  <a:ext cx="205436" cy="51710"/>
                </a:xfrm>
                <a:custGeom>
                  <a:avLst/>
                  <a:gdLst>
                    <a:gd name="connsiteX0" fmla="*/ 194095 w 205436"/>
                    <a:gd name="connsiteY0" fmla="*/ 0 h 51710"/>
                    <a:gd name="connsiteX1" fmla="*/ 194095 w 205436"/>
                    <a:gd name="connsiteY1" fmla="*/ 3831 h 51710"/>
                    <a:gd name="connsiteX2" fmla="*/ 192816 w 205436"/>
                    <a:gd name="connsiteY2" fmla="*/ 7661 h 51710"/>
                    <a:gd name="connsiteX3" fmla="*/ 137863 w 205436"/>
                    <a:gd name="connsiteY3" fmla="*/ 25536 h 51710"/>
                    <a:gd name="connsiteX4" fmla="*/ 137224 w 205436"/>
                    <a:gd name="connsiteY4" fmla="*/ 25536 h 51710"/>
                    <a:gd name="connsiteX5" fmla="*/ 136585 w 205436"/>
                    <a:gd name="connsiteY5" fmla="*/ 25536 h 51710"/>
                    <a:gd name="connsiteX6" fmla="*/ 73325 w 205436"/>
                    <a:gd name="connsiteY6" fmla="*/ 30643 h 51710"/>
                    <a:gd name="connsiteX7" fmla="*/ 68212 w 205436"/>
                    <a:gd name="connsiteY7" fmla="*/ 25536 h 51710"/>
                    <a:gd name="connsiteX8" fmla="*/ 67573 w 205436"/>
                    <a:gd name="connsiteY8" fmla="*/ 25536 h 51710"/>
                    <a:gd name="connsiteX9" fmla="*/ 66935 w 205436"/>
                    <a:gd name="connsiteY9" fmla="*/ 25536 h 51710"/>
                    <a:gd name="connsiteX10" fmla="*/ 11981 w 205436"/>
                    <a:gd name="connsiteY10" fmla="*/ 7661 h 51710"/>
                    <a:gd name="connsiteX11" fmla="*/ 10703 w 205436"/>
                    <a:gd name="connsiteY11" fmla="*/ 3831 h 51710"/>
                    <a:gd name="connsiteX12" fmla="*/ 10703 w 205436"/>
                    <a:gd name="connsiteY12" fmla="*/ 0 h 51710"/>
                    <a:gd name="connsiteX13" fmla="*/ 479 w 205436"/>
                    <a:gd name="connsiteY13" fmla="*/ 3192 h 51710"/>
                    <a:gd name="connsiteX14" fmla="*/ 479 w 205436"/>
                    <a:gd name="connsiteY14" fmla="*/ 19152 h 51710"/>
                    <a:gd name="connsiteX15" fmla="*/ 13259 w 205436"/>
                    <a:gd name="connsiteY15" fmla="*/ 45965 h 51710"/>
                    <a:gd name="connsiteX16" fmla="*/ 102718 w 205436"/>
                    <a:gd name="connsiteY16" fmla="*/ 51710 h 51710"/>
                    <a:gd name="connsiteX17" fmla="*/ 192177 w 205436"/>
                    <a:gd name="connsiteY17" fmla="*/ 45965 h 51710"/>
                    <a:gd name="connsiteX18" fmla="*/ 204957 w 205436"/>
                    <a:gd name="connsiteY18" fmla="*/ 19152 h 51710"/>
                    <a:gd name="connsiteX19" fmla="*/ 204957 w 205436"/>
                    <a:gd name="connsiteY19" fmla="*/ 3192 h 51710"/>
                    <a:gd name="connsiteX20" fmla="*/ 194095 w 205436"/>
                    <a:gd name="connsiteY20" fmla="*/ 0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436" h="51710">
                      <a:moveTo>
                        <a:pt x="194095" y="0"/>
                      </a:moveTo>
                      <a:lnTo>
                        <a:pt x="194095" y="3831"/>
                      </a:lnTo>
                      <a:cubicBezTo>
                        <a:pt x="194095" y="5107"/>
                        <a:pt x="193456" y="6384"/>
                        <a:pt x="192816" y="7661"/>
                      </a:cubicBezTo>
                      <a:cubicBezTo>
                        <a:pt x="190900" y="10215"/>
                        <a:pt x="180676" y="21706"/>
                        <a:pt x="137863" y="25536"/>
                      </a:cubicBezTo>
                      <a:lnTo>
                        <a:pt x="137224" y="25536"/>
                      </a:lnTo>
                      <a:lnTo>
                        <a:pt x="136585" y="25536"/>
                      </a:lnTo>
                      <a:cubicBezTo>
                        <a:pt x="120610" y="44050"/>
                        <a:pt x="92494" y="46603"/>
                        <a:pt x="73325" y="30643"/>
                      </a:cubicBezTo>
                      <a:cubicBezTo>
                        <a:pt x="71407" y="29367"/>
                        <a:pt x="70130" y="27451"/>
                        <a:pt x="68212" y="25536"/>
                      </a:cubicBezTo>
                      <a:lnTo>
                        <a:pt x="67573" y="25536"/>
                      </a:lnTo>
                      <a:lnTo>
                        <a:pt x="66935" y="25536"/>
                      </a:lnTo>
                      <a:cubicBezTo>
                        <a:pt x="23483" y="21067"/>
                        <a:pt x="13259" y="9576"/>
                        <a:pt x="11981" y="7661"/>
                      </a:cubicBezTo>
                      <a:cubicBezTo>
                        <a:pt x="11342" y="6384"/>
                        <a:pt x="10703" y="5107"/>
                        <a:pt x="10703" y="3831"/>
                      </a:cubicBezTo>
                      <a:lnTo>
                        <a:pt x="10703" y="0"/>
                      </a:lnTo>
                      <a:lnTo>
                        <a:pt x="479" y="3192"/>
                      </a:lnTo>
                      <a:cubicBezTo>
                        <a:pt x="-160" y="8299"/>
                        <a:pt x="-160" y="14045"/>
                        <a:pt x="479" y="19152"/>
                      </a:cubicBezTo>
                      <a:cubicBezTo>
                        <a:pt x="3674" y="28090"/>
                        <a:pt x="8148" y="37027"/>
                        <a:pt x="13259" y="45965"/>
                      </a:cubicBezTo>
                      <a:cubicBezTo>
                        <a:pt x="17093" y="47242"/>
                        <a:pt x="35624" y="51710"/>
                        <a:pt x="102718" y="51710"/>
                      </a:cubicBezTo>
                      <a:cubicBezTo>
                        <a:pt x="169812" y="51710"/>
                        <a:pt x="187705" y="47242"/>
                        <a:pt x="192177" y="45965"/>
                      </a:cubicBezTo>
                      <a:cubicBezTo>
                        <a:pt x="197290" y="37666"/>
                        <a:pt x="201762" y="28728"/>
                        <a:pt x="204957" y="19152"/>
                      </a:cubicBezTo>
                      <a:cubicBezTo>
                        <a:pt x="205596" y="14045"/>
                        <a:pt x="205596" y="8299"/>
                        <a:pt x="204957" y="3192"/>
                      </a:cubicBezTo>
                      <a:lnTo>
                        <a:pt x="194095" y="0"/>
                      </a:lnTo>
                      <a:close/>
                    </a:path>
                  </a:pathLst>
                </a:custGeom>
                <a:grpFill/>
                <a:ln w="6390" cap="flat">
                  <a:noFill/>
                  <a:prstDash val="solid"/>
                  <a:miter/>
                </a:ln>
              </p:spPr>
              <p:txBody>
                <a:bodyPr rtlCol="0" anchor="ctr">
                  <a:noAutofit/>
                </a:bodyPr>
                <a:lstStyle/>
                <a:p>
                  <a:endParaRPr lang="en-US" sz="2000" dirty="0"/>
                </a:p>
              </p:txBody>
            </p:sp>
          </p:grpSp>
          <p:sp>
            <p:nvSpPr>
              <p:cNvPr id="370" name="TextBox 369">
                <a:extLst>
                  <a:ext uri="{FF2B5EF4-FFF2-40B4-BE49-F238E27FC236}">
                    <a16:creationId xmlns:a16="http://schemas.microsoft.com/office/drawing/2014/main" id="{24210616-DA4D-41DF-93FB-B9642EB02562}"/>
                  </a:ext>
                </a:extLst>
              </p:cNvPr>
              <p:cNvSpPr txBox="1"/>
              <p:nvPr/>
            </p:nvSpPr>
            <p:spPr>
              <a:xfrm>
                <a:off x="8203955" y="4799020"/>
                <a:ext cx="526426" cy="123111"/>
              </a:xfrm>
              <a:prstGeom prst="rect">
                <a:avLst/>
              </a:prstGeom>
              <a:noFill/>
            </p:spPr>
            <p:txBody>
              <a:bodyPr wrap="square" lIns="0" tIns="0" rIns="0" bIns="0">
                <a:noAutofit/>
              </a:bodyPr>
              <a:lstStyle/>
              <a:p>
                <a:pPr algn="ctr">
                  <a:buSzPct val="100000"/>
                </a:pPr>
                <a:r>
                  <a:rPr lang="en-NZ" sz="800" dirty="0">
                    <a:solidFill>
                      <a:srgbClr val="313131"/>
                    </a:solidFill>
                  </a:rPr>
                  <a:t>Capex FTEs</a:t>
                </a:r>
              </a:p>
            </p:txBody>
          </p:sp>
          <p:sp>
            <p:nvSpPr>
              <p:cNvPr id="371" name="TextBox 370">
                <a:extLst>
                  <a:ext uri="{FF2B5EF4-FFF2-40B4-BE49-F238E27FC236}">
                    <a16:creationId xmlns:a16="http://schemas.microsoft.com/office/drawing/2014/main" id="{183B1B7B-813A-4AA5-AFED-23D10DC2F751}"/>
                  </a:ext>
                </a:extLst>
              </p:cNvPr>
              <p:cNvSpPr txBox="1"/>
              <p:nvPr/>
            </p:nvSpPr>
            <p:spPr>
              <a:xfrm>
                <a:off x="8794328" y="4799020"/>
                <a:ext cx="526426" cy="123111"/>
              </a:xfrm>
              <a:prstGeom prst="rect">
                <a:avLst/>
              </a:prstGeom>
              <a:noFill/>
            </p:spPr>
            <p:txBody>
              <a:bodyPr wrap="square" lIns="0" tIns="0" rIns="0" bIns="0">
                <a:noAutofit/>
              </a:bodyPr>
              <a:lstStyle/>
              <a:p>
                <a:pPr algn="ctr">
                  <a:buSzPct val="100000"/>
                </a:pPr>
                <a:r>
                  <a:rPr lang="en-NZ" sz="800" dirty="0">
                    <a:solidFill>
                      <a:srgbClr val="313131"/>
                    </a:solidFill>
                  </a:rPr>
                  <a:t>Opex FTEs</a:t>
                </a:r>
              </a:p>
            </p:txBody>
          </p:sp>
        </p:grpSp>
        <p:grpSp>
          <p:nvGrpSpPr>
            <p:cNvPr id="257" name="Group 256">
              <a:extLst>
                <a:ext uri="{FF2B5EF4-FFF2-40B4-BE49-F238E27FC236}">
                  <a16:creationId xmlns:a16="http://schemas.microsoft.com/office/drawing/2014/main" id="{F184A4B1-AEEA-490B-A035-70BA5541F598}"/>
                </a:ext>
              </a:extLst>
            </p:cNvPr>
            <p:cNvGrpSpPr/>
            <p:nvPr/>
          </p:nvGrpSpPr>
          <p:grpSpPr>
            <a:xfrm>
              <a:off x="8172522" y="5241735"/>
              <a:ext cx="1058772" cy="556887"/>
              <a:chOff x="8172920" y="5025399"/>
              <a:chExt cx="1174607" cy="617814"/>
            </a:xfrm>
            <a:effectLst>
              <a:outerShdw blurRad="63500" sx="102000" sy="102000" algn="ctr" rotWithShape="0">
                <a:prstClr val="black">
                  <a:alpha val="40000"/>
                </a:prstClr>
              </a:outerShdw>
            </a:effectLst>
          </p:grpSpPr>
          <p:sp>
            <p:nvSpPr>
              <p:cNvPr id="351" name="Rectangle: Top Corners Rounded 16">
                <a:extLst>
                  <a:ext uri="{FF2B5EF4-FFF2-40B4-BE49-F238E27FC236}">
                    <a16:creationId xmlns:a16="http://schemas.microsoft.com/office/drawing/2014/main" id="{4DEBEAAA-FA32-43D7-8F8F-0DDB5D9875AA}"/>
                  </a:ext>
                </a:extLst>
              </p:cNvPr>
              <p:cNvSpPr/>
              <p:nvPr/>
            </p:nvSpPr>
            <p:spPr bwMode="gray">
              <a:xfrm>
                <a:off x="8172920" y="5025399"/>
                <a:ext cx="1174607" cy="212779"/>
              </a:xfrm>
              <a:prstGeom prst="snip1Rect">
                <a:avLst>
                  <a:gd name="adj" fmla="val 34572"/>
                </a:avLst>
              </a:prstGeom>
              <a:solidFill>
                <a:srgbClr val="0097A9"/>
              </a:solidFill>
              <a:ln w="19050" algn="ctr">
                <a:noFill/>
                <a:miter lim="800000"/>
                <a:headEnd/>
                <a:tailEnd/>
              </a:ln>
            </p:spPr>
            <p:txBody>
              <a:bodyPr wrap="none" lIns="66675" tIns="0" rIns="66675" bIns="36000" rtlCol="0" anchor="ctr">
                <a:noAutofit/>
              </a:bodyPr>
              <a:lstStyle/>
              <a:p>
                <a:pPr algn="ctr">
                  <a:lnSpc>
                    <a:spcPct val="106000"/>
                  </a:lnSpc>
                  <a:buFont typeface="Wingdings 2" pitchFamily="18" charset="2"/>
                  <a:buNone/>
                </a:pPr>
                <a:r>
                  <a:rPr lang="en-US" sz="1000" dirty="0">
                    <a:solidFill>
                      <a:schemeClr val="bg1"/>
                    </a:solidFill>
                  </a:rPr>
                  <a:t>Provincial Profile</a:t>
                </a:r>
              </a:p>
            </p:txBody>
          </p:sp>
          <p:sp>
            <p:nvSpPr>
              <p:cNvPr id="352" name="Rectangle 351">
                <a:extLst>
                  <a:ext uri="{FF2B5EF4-FFF2-40B4-BE49-F238E27FC236}">
                    <a16:creationId xmlns:a16="http://schemas.microsoft.com/office/drawing/2014/main" id="{DDD2CCD5-D730-4670-BC42-17EF782CF0D5}"/>
                  </a:ext>
                </a:extLst>
              </p:cNvPr>
              <p:cNvSpPr/>
              <p:nvPr/>
            </p:nvSpPr>
            <p:spPr bwMode="gray">
              <a:xfrm>
                <a:off x="8172920" y="5231786"/>
                <a:ext cx="1174607" cy="411427"/>
              </a:xfrm>
              <a:prstGeom prst="rect">
                <a:avLst/>
              </a:prstGeom>
              <a:solidFill>
                <a:schemeClr val="bg1">
                  <a:lumMod val="95000"/>
                </a:schemeClr>
              </a:solidFill>
              <a:ln w="19050" algn="ctr">
                <a:noFill/>
                <a:miter lim="800000"/>
                <a:headEnd/>
                <a:tailEnd/>
              </a:ln>
            </p:spPr>
            <p:txBody>
              <a:bodyPr wrap="none" lIns="66675" tIns="66675" rIns="66675" bIns="66675" rtlCol="0" anchor="ctr">
                <a:noAutofit/>
              </a:bodyPr>
              <a:lstStyle/>
              <a:p>
                <a:pPr algn="ctr">
                  <a:lnSpc>
                    <a:spcPct val="106000"/>
                  </a:lnSpc>
                  <a:buFont typeface="Wingdings 2" pitchFamily="18" charset="2"/>
                  <a:buNone/>
                </a:pPr>
                <a:endParaRPr lang="en-US" sz="900" dirty="0">
                  <a:solidFill>
                    <a:schemeClr val="bg1"/>
                  </a:solidFill>
                </a:endParaRPr>
              </a:p>
            </p:txBody>
          </p:sp>
          <p:grpSp>
            <p:nvGrpSpPr>
              <p:cNvPr id="353" name="Graphic 4">
                <a:extLst>
                  <a:ext uri="{FF2B5EF4-FFF2-40B4-BE49-F238E27FC236}">
                    <a16:creationId xmlns:a16="http://schemas.microsoft.com/office/drawing/2014/main" id="{C5F39526-F61D-4AFC-82CD-2143229BED5B}"/>
                  </a:ext>
                </a:extLst>
              </p:cNvPr>
              <p:cNvGrpSpPr/>
              <p:nvPr/>
            </p:nvGrpSpPr>
            <p:grpSpPr>
              <a:xfrm>
                <a:off x="8936827" y="5266385"/>
                <a:ext cx="216000" cy="216000"/>
                <a:chOff x="5099169" y="2371176"/>
                <a:chExt cx="362309" cy="361971"/>
              </a:xfrm>
              <a:solidFill>
                <a:srgbClr val="0097A9"/>
              </a:solidFill>
            </p:grpSpPr>
            <p:sp>
              <p:nvSpPr>
                <p:cNvPr id="362" name="Graphic 4">
                  <a:extLst>
                    <a:ext uri="{FF2B5EF4-FFF2-40B4-BE49-F238E27FC236}">
                      <a16:creationId xmlns:a16="http://schemas.microsoft.com/office/drawing/2014/main" id="{D2BAEC4F-7878-45F4-99E1-1549A3FC451D}"/>
                    </a:ext>
                  </a:extLst>
                </p:cNvPr>
                <p:cNvSpPr/>
                <p:nvPr/>
              </p:nvSpPr>
              <p:spPr>
                <a:xfrm>
                  <a:off x="5197574" y="2471402"/>
                  <a:ext cx="164381" cy="164866"/>
                </a:xfrm>
                <a:custGeom>
                  <a:avLst/>
                  <a:gdLst>
                    <a:gd name="connsiteX0" fmla="*/ 90098 w 164381"/>
                    <a:gd name="connsiteY0" fmla="*/ 83630 h 164866"/>
                    <a:gd name="connsiteX1" fmla="*/ 90098 w 164381"/>
                    <a:gd name="connsiteY1" fmla="*/ 83630 h 164866"/>
                    <a:gd name="connsiteX2" fmla="*/ 61343 w 164381"/>
                    <a:gd name="connsiteY2" fmla="*/ 54264 h 164866"/>
                    <a:gd name="connsiteX3" fmla="*/ 58787 w 164381"/>
                    <a:gd name="connsiteY3" fmla="*/ 41496 h 164866"/>
                    <a:gd name="connsiteX4" fmla="*/ 51758 w 164381"/>
                    <a:gd name="connsiteY4" fmla="*/ 7022 h 164866"/>
                    <a:gd name="connsiteX5" fmla="*/ 40257 w 164381"/>
                    <a:gd name="connsiteY5" fmla="*/ 0 h 164866"/>
                    <a:gd name="connsiteX6" fmla="*/ 47285 w 164381"/>
                    <a:gd name="connsiteY6" fmla="*/ 19152 h 164866"/>
                    <a:gd name="connsiteX7" fmla="*/ 18531 w 164381"/>
                    <a:gd name="connsiteY7" fmla="*/ 47880 h 164866"/>
                    <a:gd name="connsiteX8" fmla="*/ 0 w 164381"/>
                    <a:gd name="connsiteY8" fmla="*/ 40857 h 164866"/>
                    <a:gd name="connsiteX9" fmla="*/ 6390 w 164381"/>
                    <a:gd name="connsiteY9" fmla="*/ 51710 h 164866"/>
                    <a:gd name="connsiteX10" fmla="*/ 40895 w 164381"/>
                    <a:gd name="connsiteY10" fmla="*/ 60009 h 164866"/>
                    <a:gd name="connsiteX11" fmla="*/ 46646 w 164381"/>
                    <a:gd name="connsiteY11" fmla="*/ 58733 h 164866"/>
                    <a:gd name="connsiteX12" fmla="*/ 54953 w 164381"/>
                    <a:gd name="connsiteY12" fmla="*/ 62563 h 164866"/>
                    <a:gd name="connsiteX13" fmla="*/ 155914 w 164381"/>
                    <a:gd name="connsiteY13" fmla="*/ 163430 h 164866"/>
                    <a:gd name="connsiteX14" fmla="*/ 162943 w 164381"/>
                    <a:gd name="connsiteY14" fmla="*/ 163430 h 164866"/>
                    <a:gd name="connsiteX15" fmla="*/ 162943 w 164381"/>
                    <a:gd name="connsiteY15" fmla="*/ 156408 h 164866"/>
                    <a:gd name="connsiteX16" fmla="*/ 162943 w 164381"/>
                    <a:gd name="connsiteY16" fmla="*/ 156408 h 164866"/>
                    <a:gd name="connsiteX17" fmla="*/ 90098 w 164381"/>
                    <a:gd name="connsiteY17" fmla="*/ 83630 h 164866"/>
                    <a:gd name="connsiteX18" fmla="*/ 90098 w 164381"/>
                    <a:gd name="connsiteY18" fmla="*/ 83630 h 16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4381" h="164866">
                      <a:moveTo>
                        <a:pt x="90098" y="83630"/>
                      </a:moveTo>
                      <a:lnTo>
                        <a:pt x="90098" y="83630"/>
                      </a:lnTo>
                      <a:lnTo>
                        <a:pt x="61343" y="54264"/>
                      </a:lnTo>
                      <a:cubicBezTo>
                        <a:pt x="58148" y="51072"/>
                        <a:pt x="56870" y="45965"/>
                        <a:pt x="58787" y="41496"/>
                      </a:cubicBezTo>
                      <a:cubicBezTo>
                        <a:pt x="63899" y="29366"/>
                        <a:pt x="60704" y="15960"/>
                        <a:pt x="51758" y="7022"/>
                      </a:cubicBezTo>
                      <a:cubicBezTo>
                        <a:pt x="48563" y="3830"/>
                        <a:pt x="44730" y="1277"/>
                        <a:pt x="40257" y="0"/>
                      </a:cubicBezTo>
                      <a:cubicBezTo>
                        <a:pt x="44730" y="5107"/>
                        <a:pt x="47285" y="12130"/>
                        <a:pt x="47285" y="19152"/>
                      </a:cubicBezTo>
                      <a:cubicBezTo>
                        <a:pt x="47285" y="35112"/>
                        <a:pt x="34505" y="47880"/>
                        <a:pt x="18531" y="47880"/>
                      </a:cubicBezTo>
                      <a:cubicBezTo>
                        <a:pt x="11502" y="47880"/>
                        <a:pt x="5112" y="45326"/>
                        <a:pt x="0" y="40857"/>
                      </a:cubicBezTo>
                      <a:cubicBezTo>
                        <a:pt x="1278" y="44688"/>
                        <a:pt x="3834" y="48518"/>
                        <a:pt x="6390" y="51710"/>
                      </a:cubicBezTo>
                      <a:cubicBezTo>
                        <a:pt x="15336" y="60648"/>
                        <a:pt x="28755" y="63840"/>
                        <a:pt x="40895" y="60009"/>
                      </a:cubicBezTo>
                      <a:cubicBezTo>
                        <a:pt x="42812" y="58733"/>
                        <a:pt x="44730" y="58733"/>
                        <a:pt x="46646" y="58733"/>
                      </a:cubicBezTo>
                      <a:cubicBezTo>
                        <a:pt x="49841" y="58733"/>
                        <a:pt x="53036" y="60009"/>
                        <a:pt x="54953" y="62563"/>
                      </a:cubicBezTo>
                      <a:lnTo>
                        <a:pt x="155914" y="163430"/>
                      </a:lnTo>
                      <a:cubicBezTo>
                        <a:pt x="157831" y="165345"/>
                        <a:pt x="161026" y="165345"/>
                        <a:pt x="162943" y="163430"/>
                      </a:cubicBezTo>
                      <a:cubicBezTo>
                        <a:pt x="164860" y="161515"/>
                        <a:pt x="164860" y="158323"/>
                        <a:pt x="162943" y="156408"/>
                      </a:cubicBezTo>
                      <a:cubicBezTo>
                        <a:pt x="162943" y="156408"/>
                        <a:pt x="162943" y="156408"/>
                        <a:pt x="162943" y="156408"/>
                      </a:cubicBezTo>
                      <a:lnTo>
                        <a:pt x="90098" y="83630"/>
                      </a:lnTo>
                      <a:lnTo>
                        <a:pt x="90098" y="83630"/>
                      </a:lnTo>
                      <a:close/>
                    </a:path>
                  </a:pathLst>
                </a:custGeom>
                <a:grpFill/>
                <a:ln w="6390" cap="flat">
                  <a:noFill/>
                  <a:prstDash val="solid"/>
                  <a:miter/>
                </a:ln>
              </p:spPr>
              <p:txBody>
                <a:bodyPr rtlCol="0" anchor="ctr">
                  <a:noAutofit/>
                </a:bodyPr>
                <a:lstStyle/>
                <a:p>
                  <a:endParaRPr lang="en-US" sz="2000" dirty="0"/>
                </a:p>
              </p:txBody>
            </p:sp>
            <p:sp>
              <p:nvSpPr>
                <p:cNvPr id="363" name="Graphic 4">
                  <a:extLst>
                    <a:ext uri="{FF2B5EF4-FFF2-40B4-BE49-F238E27FC236}">
                      <a16:creationId xmlns:a16="http://schemas.microsoft.com/office/drawing/2014/main" id="{5253415E-4B3B-46E6-AFAD-3974F8510470}"/>
                    </a:ext>
                  </a:extLst>
                </p:cNvPr>
                <p:cNvSpPr/>
                <p:nvPr/>
              </p:nvSpPr>
              <p:spPr>
                <a:xfrm>
                  <a:off x="5194380" y="2559501"/>
                  <a:ext cx="72845" cy="72164"/>
                </a:xfrm>
                <a:custGeom>
                  <a:avLst/>
                  <a:gdLst>
                    <a:gd name="connsiteX0" fmla="*/ 1917 w 72845"/>
                    <a:gd name="connsiteY0" fmla="*/ 62563 h 72164"/>
                    <a:gd name="connsiteX1" fmla="*/ 0 w 72845"/>
                    <a:gd name="connsiteY1" fmla="*/ 66394 h 72164"/>
                    <a:gd name="connsiteX2" fmla="*/ 1917 w 72845"/>
                    <a:gd name="connsiteY2" fmla="*/ 70224 h 72164"/>
                    <a:gd name="connsiteX3" fmla="*/ 8946 w 72845"/>
                    <a:gd name="connsiteY3" fmla="*/ 71501 h 72164"/>
                    <a:gd name="connsiteX4" fmla="*/ 9585 w 72845"/>
                    <a:gd name="connsiteY4" fmla="*/ 70862 h 72164"/>
                    <a:gd name="connsiteX5" fmla="*/ 72845 w 72845"/>
                    <a:gd name="connsiteY5" fmla="*/ 7661 h 72164"/>
                    <a:gd name="connsiteX6" fmla="*/ 65177 w 72845"/>
                    <a:gd name="connsiteY6" fmla="*/ 0 h 72164"/>
                    <a:gd name="connsiteX7" fmla="*/ 1917 w 72845"/>
                    <a:gd name="connsiteY7" fmla="*/ 62563 h 7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845" h="72164">
                      <a:moveTo>
                        <a:pt x="1917" y="62563"/>
                      </a:moveTo>
                      <a:cubicBezTo>
                        <a:pt x="639" y="63840"/>
                        <a:pt x="0" y="65117"/>
                        <a:pt x="0" y="66394"/>
                      </a:cubicBezTo>
                      <a:cubicBezTo>
                        <a:pt x="0" y="67670"/>
                        <a:pt x="639" y="68947"/>
                        <a:pt x="1917" y="70224"/>
                      </a:cubicBezTo>
                      <a:cubicBezTo>
                        <a:pt x="3834" y="72139"/>
                        <a:pt x="6390" y="72778"/>
                        <a:pt x="8946" y="71501"/>
                      </a:cubicBezTo>
                      <a:cubicBezTo>
                        <a:pt x="8946" y="71501"/>
                        <a:pt x="9585" y="70862"/>
                        <a:pt x="9585" y="70862"/>
                      </a:cubicBezTo>
                      <a:lnTo>
                        <a:pt x="72845" y="7661"/>
                      </a:lnTo>
                      <a:lnTo>
                        <a:pt x="65177" y="0"/>
                      </a:lnTo>
                      <a:lnTo>
                        <a:pt x="1917" y="62563"/>
                      </a:lnTo>
                      <a:close/>
                    </a:path>
                  </a:pathLst>
                </a:custGeom>
                <a:grpFill/>
                <a:ln w="6390" cap="flat">
                  <a:noFill/>
                  <a:prstDash val="solid"/>
                  <a:miter/>
                </a:ln>
              </p:spPr>
              <p:txBody>
                <a:bodyPr rtlCol="0" anchor="ctr">
                  <a:noAutofit/>
                </a:bodyPr>
                <a:lstStyle/>
                <a:p>
                  <a:endParaRPr lang="en-US" sz="2000" dirty="0"/>
                </a:p>
              </p:txBody>
            </p:sp>
            <p:sp>
              <p:nvSpPr>
                <p:cNvPr id="364" name="Graphic 4">
                  <a:extLst>
                    <a:ext uri="{FF2B5EF4-FFF2-40B4-BE49-F238E27FC236}">
                      <a16:creationId xmlns:a16="http://schemas.microsoft.com/office/drawing/2014/main" id="{0196D333-04F4-4ACD-B42D-6FD0A81DFC15}"/>
                    </a:ext>
                  </a:extLst>
                </p:cNvPr>
                <p:cNvSpPr/>
                <p:nvPr/>
              </p:nvSpPr>
              <p:spPr>
                <a:xfrm>
                  <a:off x="5284477" y="2477786"/>
                  <a:ext cx="78596" cy="63201"/>
                </a:xfrm>
                <a:custGeom>
                  <a:avLst/>
                  <a:gdLst>
                    <a:gd name="connsiteX0" fmla="*/ 19809 w 78596"/>
                    <a:gd name="connsiteY0" fmla="*/ 0 h 63201"/>
                    <a:gd name="connsiteX1" fmla="*/ 33228 w 78596"/>
                    <a:gd name="connsiteY1" fmla="*/ 13406 h 63201"/>
                    <a:gd name="connsiteX2" fmla="*/ 33228 w 78596"/>
                    <a:gd name="connsiteY2" fmla="*/ 22344 h 63201"/>
                    <a:gd name="connsiteX3" fmla="*/ 0 w 78596"/>
                    <a:gd name="connsiteY3" fmla="*/ 55541 h 63201"/>
                    <a:gd name="connsiteX4" fmla="*/ 7668 w 78596"/>
                    <a:gd name="connsiteY4" fmla="*/ 63201 h 63201"/>
                    <a:gd name="connsiteX5" fmla="*/ 40896 w 78596"/>
                    <a:gd name="connsiteY5" fmla="*/ 30005 h 63201"/>
                    <a:gd name="connsiteX6" fmla="*/ 49841 w 78596"/>
                    <a:gd name="connsiteY6" fmla="*/ 30005 h 63201"/>
                    <a:gd name="connsiteX7" fmla="*/ 68372 w 78596"/>
                    <a:gd name="connsiteY7" fmla="*/ 48518 h 63201"/>
                    <a:gd name="connsiteX8" fmla="*/ 78596 w 78596"/>
                    <a:gd name="connsiteY8" fmla="*/ 38304 h 63201"/>
                    <a:gd name="connsiteX9" fmla="*/ 46646 w 78596"/>
                    <a:gd name="connsiteY9" fmla="*/ 6384 h 63201"/>
                    <a:gd name="connsiteX10" fmla="*/ 19809 w 78596"/>
                    <a:gd name="connsiteY10" fmla="*/ 0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596" h="63201">
                      <a:moveTo>
                        <a:pt x="19809" y="0"/>
                      </a:moveTo>
                      <a:lnTo>
                        <a:pt x="33228" y="13406"/>
                      </a:lnTo>
                      <a:cubicBezTo>
                        <a:pt x="35783" y="15960"/>
                        <a:pt x="35783" y="19790"/>
                        <a:pt x="33228" y="22344"/>
                      </a:cubicBezTo>
                      <a:lnTo>
                        <a:pt x="0" y="55541"/>
                      </a:lnTo>
                      <a:lnTo>
                        <a:pt x="7668" y="63201"/>
                      </a:lnTo>
                      <a:lnTo>
                        <a:pt x="40896" y="30005"/>
                      </a:lnTo>
                      <a:cubicBezTo>
                        <a:pt x="43451" y="27451"/>
                        <a:pt x="47286" y="27451"/>
                        <a:pt x="49841" y="30005"/>
                      </a:cubicBezTo>
                      <a:lnTo>
                        <a:pt x="68372" y="48518"/>
                      </a:lnTo>
                      <a:lnTo>
                        <a:pt x="78596" y="38304"/>
                      </a:lnTo>
                      <a:lnTo>
                        <a:pt x="46646" y="6384"/>
                      </a:lnTo>
                      <a:lnTo>
                        <a:pt x="19809" y="0"/>
                      </a:lnTo>
                      <a:close/>
                    </a:path>
                  </a:pathLst>
                </a:custGeom>
                <a:grpFill/>
                <a:ln w="6390" cap="flat">
                  <a:noFill/>
                  <a:prstDash val="solid"/>
                  <a:miter/>
                </a:ln>
              </p:spPr>
              <p:txBody>
                <a:bodyPr rtlCol="0" anchor="ctr">
                  <a:noAutofit/>
                </a:bodyPr>
                <a:lstStyle/>
                <a:p>
                  <a:endParaRPr lang="en-US" sz="2000" dirty="0"/>
                </a:p>
              </p:txBody>
            </p:sp>
            <p:sp>
              <p:nvSpPr>
                <p:cNvPr id="365" name="Graphic 4">
                  <a:extLst>
                    <a:ext uri="{FF2B5EF4-FFF2-40B4-BE49-F238E27FC236}">
                      <a16:creationId xmlns:a16="http://schemas.microsoft.com/office/drawing/2014/main" id="{56B734EF-0166-43CA-A836-7B901E9BFA16}"/>
                    </a:ext>
                  </a:extLst>
                </p:cNvPr>
                <p:cNvSpPr/>
                <p:nvPr/>
              </p:nvSpPr>
              <p:spPr>
                <a:xfrm>
                  <a:off x="5099169" y="237117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277962 w 362309"/>
                    <a:gd name="connsiteY7" fmla="*/ 149385 h 361971"/>
                    <a:gd name="connsiteX8" fmla="*/ 258792 w 362309"/>
                    <a:gd name="connsiteY8" fmla="*/ 168537 h 361971"/>
                    <a:gd name="connsiteX9" fmla="*/ 249846 w 362309"/>
                    <a:gd name="connsiteY9" fmla="*/ 168537 h 361971"/>
                    <a:gd name="connsiteX10" fmla="*/ 249846 w 362309"/>
                    <a:gd name="connsiteY10" fmla="*/ 168537 h 361971"/>
                    <a:gd name="connsiteX11" fmla="*/ 231316 w 362309"/>
                    <a:gd name="connsiteY11" fmla="*/ 150024 h 361971"/>
                    <a:gd name="connsiteX12" fmla="*/ 202561 w 362309"/>
                    <a:gd name="connsiteY12" fmla="*/ 178752 h 361971"/>
                    <a:gd name="connsiteX13" fmla="*/ 269655 w 362309"/>
                    <a:gd name="connsiteY13" fmla="*/ 246422 h 361971"/>
                    <a:gd name="connsiteX14" fmla="*/ 269655 w 362309"/>
                    <a:gd name="connsiteY14" fmla="*/ 271319 h 361971"/>
                    <a:gd name="connsiteX15" fmla="*/ 269655 w 362309"/>
                    <a:gd name="connsiteY15" fmla="*/ 271319 h 361971"/>
                    <a:gd name="connsiteX16" fmla="*/ 269655 w 362309"/>
                    <a:gd name="connsiteY16" fmla="*/ 271319 h 361971"/>
                    <a:gd name="connsiteX17" fmla="*/ 256876 w 362309"/>
                    <a:gd name="connsiteY17" fmla="*/ 276427 h 361971"/>
                    <a:gd name="connsiteX18" fmla="*/ 244735 w 362309"/>
                    <a:gd name="connsiteY18" fmla="*/ 271319 h 361971"/>
                    <a:gd name="connsiteX19" fmla="*/ 177640 w 362309"/>
                    <a:gd name="connsiteY19" fmla="*/ 204287 h 361971"/>
                    <a:gd name="connsiteX20" fmla="*/ 114380 w 362309"/>
                    <a:gd name="connsiteY20" fmla="*/ 267489 h 361971"/>
                    <a:gd name="connsiteX21" fmla="*/ 102239 w 362309"/>
                    <a:gd name="connsiteY21" fmla="*/ 272596 h 361971"/>
                    <a:gd name="connsiteX22" fmla="*/ 88820 w 362309"/>
                    <a:gd name="connsiteY22" fmla="*/ 266851 h 361971"/>
                    <a:gd name="connsiteX23" fmla="*/ 83069 w 362309"/>
                    <a:gd name="connsiteY23" fmla="*/ 254083 h 361971"/>
                    <a:gd name="connsiteX24" fmla="*/ 88820 w 362309"/>
                    <a:gd name="connsiteY24" fmla="*/ 241315 h 361971"/>
                    <a:gd name="connsiteX25" fmla="*/ 152080 w 362309"/>
                    <a:gd name="connsiteY25" fmla="*/ 178113 h 361971"/>
                    <a:gd name="connsiteX26" fmla="*/ 144412 w 362309"/>
                    <a:gd name="connsiteY26" fmla="*/ 170452 h 361971"/>
                    <a:gd name="connsiteX27" fmla="*/ 86264 w 362309"/>
                    <a:gd name="connsiteY27" fmla="*/ 144916 h 361971"/>
                    <a:gd name="connsiteX28" fmla="*/ 83708 w 362309"/>
                    <a:gd name="connsiteY28" fmla="*/ 121934 h 361971"/>
                    <a:gd name="connsiteX29" fmla="*/ 88181 w 362309"/>
                    <a:gd name="connsiteY29" fmla="*/ 116827 h 361971"/>
                    <a:gd name="connsiteX30" fmla="*/ 94571 w 362309"/>
                    <a:gd name="connsiteY30" fmla="*/ 118104 h 361971"/>
                    <a:gd name="connsiteX31" fmla="*/ 105434 w 362309"/>
                    <a:gd name="connsiteY31" fmla="*/ 128957 h 361971"/>
                    <a:gd name="connsiteX32" fmla="*/ 128438 w 362309"/>
                    <a:gd name="connsiteY32" fmla="*/ 128957 h 361971"/>
                    <a:gd name="connsiteX33" fmla="*/ 132911 w 362309"/>
                    <a:gd name="connsiteY33" fmla="*/ 117465 h 361971"/>
                    <a:gd name="connsiteX34" fmla="*/ 128438 w 362309"/>
                    <a:gd name="connsiteY34" fmla="*/ 105974 h 361971"/>
                    <a:gd name="connsiteX35" fmla="*/ 117575 w 362309"/>
                    <a:gd name="connsiteY35" fmla="*/ 95121 h 361971"/>
                    <a:gd name="connsiteX36" fmla="*/ 117575 w 362309"/>
                    <a:gd name="connsiteY36" fmla="*/ 86184 h 361971"/>
                    <a:gd name="connsiteX37" fmla="*/ 121409 w 362309"/>
                    <a:gd name="connsiteY37" fmla="*/ 84269 h 361971"/>
                    <a:gd name="connsiteX38" fmla="*/ 172528 w 362309"/>
                    <a:gd name="connsiteY38" fmla="*/ 121934 h 361971"/>
                    <a:gd name="connsiteX39" fmla="*/ 169972 w 362309"/>
                    <a:gd name="connsiteY39" fmla="*/ 144916 h 361971"/>
                    <a:gd name="connsiteX40" fmla="*/ 177001 w 362309"/>
                    <a:gd name="connsiteY40" fmla="*/ 151939 h 361971"/>
                    <a:gd name="connsiteX41" fmla="*/ 205756 w 362309"/>
                    <a:gd name="connsiteY41" fmla="*/ 123211 h 361971"/>
                    <a:gd name="connsiteX42" fmla="*/ 184669 w 362309"/>
                    <a:gd name="connsiteY42" fmla="*/ 102144 h 361971"/>
                    <a:gd name="connsiteX43" fmla="*/ 184669 w 362309"/>
                    <a:gd name="connsiteY43" fmla="*/ 93206 h 361971"/>
                    <a:gd name="connsiteX44" fmla="*/ 187225 w 362309"/>
                    <a:gd name="connsiteY44" fmla="*/ 90653 h 361971"/>
                    <a:gd name="connsiteX45" fmla="*/ 192976 w 362309"/>
                    <a:gd name="connsiteY45" fmla="*/ 88738 h 361971"/>
                    <a:gd name="connsiteX46" fmla="*/ 237706 w 362309"/>
                    <a:gd name="connsiteY46" fmla="*/ 99590 h 361971"/>
                    <a:gd name="connsiteX47" fmla="*/ 240901 w 362309"/>
                    <a:gd name="connsiteY47" fmla="*/ 101505 h 361971"/>
                    <a:gd name="connsiteX48" fmla="*/ 278601 w 362309"/>
                    <a:gd name="connsiteY48" fmla="*/ 139171 h 361971"/>
                    <a:gd name="connsiteX49" fmla="*/ 277962 w 362309"/>
                    <a:gd name="connsiteY49" fmla="*/ 149385 h 361971"/>
                    <a:gd name="connsiteX50" fmla="*/ 277962 w 362309"/>
                    <a:gd name="connsiteY50" fmla="*/ 149385 h 361971"/>
                    <a:gd name="connsiteX51" fmla="*/ 277962 w 362309"/>
                    <a:gd name="connsiteY51" fmla="*/ 14938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1077"/>
                        <a:pt x="281157" y="0"/>
                        <a:pt x="181474" y="0"/>
                      </a:cubicBezTo>
                      <a:cubicBezTo>
                        <a:pt x="181474" y="0"/>
                        <a:pt x="181474" y="0"/>
                        <a:pt x="181474" y="0"/>
                      </a:cubicBezTo>
                      <a:close/>
                      <a:moveTo>
                        <a:pt x="277962" y="149385"/>
                      </a:moveTo>
                      <a:lnTo>
                        <a:pt x="258792" y="168537"/>
                      </a:lnTo>
                      <a:cubicBezTo>
                        <a:pt x="256236" y="171091"/>
                        <a:pt x="252403" y="171091"/>
                        <a:pt x="249846" y="168537"/>
                      </a:cubicBezTo>
                      <a:cubicBezTo>
                        <a:pt x="249846" y="168537"/>
                        <a:pt x="249846" y="168537"/>
                        <a:pt x="249846" y="168537"/>
                      </a:cubicBezTo>
                      <a:lnTo>
                        <a:pt x="231316" y="150024"/>
                      </a:lnTo>
                      <a:lnTo>
                        <a:pt x="202561" y="178752"/>
                      </a:lnTo>
                      <a:lnTo>
                        <a:pt x="269655" y="246422"/>
                      </a:lnTo>
                      <a:cubicBezTo>
                        <a:pt x="276684" y="253444"/>
                        <a:pt x="276684" y="264297"/>
                        <a:pt x="269655" y="271319"/>
                      </a:cubicBezTo>
                      <a:cubicBezTo>
                        <a:pt x="269655" y="271319"/>
                        <a:pt x="269655" y="271319"/>
                        <a:pt x="269655" y="271319"/>
                      </a:cubicBezTo>
                      <a:lnTo>
                        <a:pt x="269655" y="271319"/>
                      </a:lnTo>
                      <a:cubicBezTo>
                        <a:pt x="266460" y="274511"/>
                        <a:pt x="261349" y="276427"/>
                        <a:pt x="256876" y="276427"/>
                      </a:cubicBezTo>
                      <a:cubicBezTo>
                        <a:pt x="252403" y="276427"/>
                        <a:pt x="247929" y="274511"/>
                        <a:pt x="244735" y="271319"/>
                      </a:cubicBezTo>
                      <a:lnTo>
                        <a:pt x="177640" y="204287"/>
                      </a:lnTo>
                      <a:lnTo>
                        <a:pt x="114380" y="267489"/>
                      </a:lnTo>
                      <a:cubicBezTo>
                        <a:pt x="111185" y="270681"/>
                        <a:pt x="106712" y="272596"/>
                        <a:pt x="102239" y="272596"/>
                      </a:cubicBezTo>
                      <a:cubicBezTo>
                        <a:pt x="97127" y="272596"/>
                        <a:pt x="92654" y="270681"/>
                        <a:pt x="88820" y="266851"/>
                      </a:cubicBezTo>
                      <a:cubicBezTo>
                        <a:pt x="85625" y="263659"/>
                        <a:pt x="83069" y="259190"/>
                        <a:pt x="83069" y="254083"/>
                      </a:cubicBezTo>
                      <a:cubicBezTo>
                        <a:pt x="83069" y="248975"/>
                        <a:pt x="84986" y="244507"/>
                        <a:pt x="88820" y="241315"/>
                      </a:cubicBezTo>
                      <a:lnTo>
                        <a:pt x="152080" y="178113"/>
                      </a:lnTo>
                      <a:lnTo>
                        <a:pt x="144412" y="170452"/>
                      </a:lnTo>
                      <a:cubicBezTo>
                        <a:pt x="121409" y="179390"/>
                        <a:pt x="95210" y="167899"/>
                        <a:pt x="86264" y="144916"/>
                      </a:cubicBezTo>
                      <a:cubicBezTo>
                        <a:pt x="83708" y="137894"/>
                        <a:pt x="82430" y="129595"/>
                        <a:pt x="83708" y="121934"/>
                      </a:cubicBezTo>
                      <a:cubicBezTo>
                        <a:pt x="84347" y="119381"/>
                        <a:pt x="85625" y="117465"/>
                        <a:pt x="88181" y="116827"/>
                      </a:cubicBezTo>
                      <a:cubicBezTo>
                        <a:pt x="90737" y="116189"/>
                        <a:pt x="92654" y="116827"/>
                        <a:pt x="94571" y="118104"/>
                      </a:cubicBezTo>
                      <a:lnTo>
                        <a:pt x="105434" y="128957"/>
                      </a:lnTo>
                      <a:cubicBezTo>
                        <a:pt x="111824" y="135341"/>
                        <a:pt x="122048" y="135341"/>
                        <a:pt x="128438" y="128957"/>
                      </a:cubicBezTo>
                      <a:cubicBezTo>
                        <a:pt x="131633" y="125765"/>
                        <a:pt x="132911" y="121934"/>
                        <a:pt x="132911" y="117465"/>
                      </a:cubicBezTo>
                      <a:cubicBezTo>
                        <a:pt x="132911" y="112997"/>
                        <a:pt x="130994" y="109166"/>
                        <a:pt x="128438" y="105974"/>
                      </a:cubicBezTo>
                      <a:lnTo>
                        <a:pt x="117575" y="95121"/>
                      </a:lnTo>
                      <a:cubicBezTo>
                        <a:pt x="115019" y="92568"/>
                        <a:pt x="115019" y="88738"/>
                        <a:pt x="117575" y="86184"/>
                      </a:cubicBezTo>
                      <a:cubicBezTo>
                        <a:pt x="118853" y="84907"/>
                        <a:pt x="119492" y="84269"/>
                        <a:pt x="121409" y="84269"/>
                      </a:cubicBezTo>
                      <a:cubicBezTo>
                        <a:pt x="145690" y="80438"/>
                        <a:pt x="168695" y="97675"/>
                        <a:pt x="172528" y="121934"/>
                      </a:cubicBezTo>
                      <a:cubicBezTo>
                        <a:pt x="173806" y="129595"/>
                        <a:pt x="172528" y="137894"/>
                        <a:pt x="169972" y="144916"/>
                      </a:cubicBezTo>
                      <a:lnTo>
                        <a:pt x="177001" y="151939"/>
                      </a:lnTo>
                      <a:lnTo>
                        <a:pt x="205756" y="123211"/>
                      </a:lnTo>
                      <a:lnTo>
                        <a:pt x="184669" y="102144"/>
                      </a:lnTo>
                      <a:cubicBezTo>
                        <a:pt x="182113" y="99590"/>
                        <a:pt x="182113" y="95760"/>
                        <a:pt x="184669" y="93206"/>
                      </a:cubicBezTo>
                      <a:lnTo>
                        <a:pt x="187225" y="90653"/>
                      </a:lnTo>
                      <a:cubicBezTo>
                        <a:pt x="188503" y="89376"/>
                        <a:pt x="191059" y="88738"/>
                        <a:pt x="192976" y="88738"/>
                      </a:cubicBezTo>
                      <a:lnTo>
                        <a:pt x="237706" y="99590"/>
                      </a:lnTo>
                      <a:cubicBezTo>
                        <a:pt x="238984" y="99590"/>
                        <a:pt x="239623" y="100229"/>
                        <a:pt x="240901" y="101505"/>
                      </a:cubicBezTo>
                      <a:lnTo>
                        <a:pt x="278601" y="139171"/>
                      </a:lnTo>
                      <a:cubicBezTo>
                        <a:pt x="280518" y="143001"/>
                        <a:pt x="280518" y="146832"/>
                        <a:pt x="277962" y="149385"/>
                      </a:cubicBezTo>
                      <a:cubicBezTo>
                        <a:pt x="277962" y="149385"/>
                        <a:pt x="277962" y="149385"/>
                        <a:pt x="277962" y="149385"/>
                      </a:cubicBezTo>
                      <a:lnTo>
                        <a:pt x="277962" y="149385"/>
                      </a:lnTo>
                      <a:close/>
                    </a:path>
                  </a:pathLst>
                </a:custGeom>
                <a:grpFill/>
                <a:ln w="6390" cap="flat">
                  <a:noFill/>
                  <a:prstDash val="solid"/>
                  <a:miter/>
                </a:ln>
              </p:spPr>
              <p:txBody>
                <a:bodyPr rtlCol="0" anchor="ctr">
                  <a:noAutofit/>
                </a:bodyPr>
                <a:lstStyle/>
                <a:p>
                  <a:endParaRPr lang="en-US" sz="2000" dirty="0"/>
                </a:p>
              </p:txBody>
            </p:sp>
          </p:grpSp>
          <p:grpSp>
            <p:nvGrpSpPr>
              <p:cNvPr id="354" name="Graphic 4">
                <a:extLst>
                  <a:ext uri="{FF2B5EF4-FFF2-40B4-BE49-F238E27FC236}">
                    <a16:creationId xmlns:a16="http://schemas.microsoft.com/office/drawing/2014/main" id="{C8D31E39-8090-48AA-A7E3-CFEE93F7ED07}"/>
                  </a:ext>
                </a:extLst>
              </p:cNvPr>
              <p:cNvGrpSpPr/>
              <p:nvPr/>
            </p:nvGrpSpPr>
            <p:grpSpPr>
              <a:xfrm>
                <a:off x="8357189" y="5266385"/>
                <a:ext cx="216000" cy="216000"/>
                <a:chOff x="11372170" y="3339623"/>
                <a:chExt cx="362309" cy="361971"/>
              </a:xfrm>
              <a:solidFill>
                <a:srgbClr val="0097A9"/>
              </a:solidFill>
            </p:grpSpPr>
            <p:sp>
              <p:nvSpPr>
                <p:cNvPr id="357" name="Graphic 4">
                  <a:extLst>
                    <a:ext uri="{FF2B5EF4-FFF2-40B4-BE49-F238E27FC236}">
                      <a16:creationId xmlns:a16="http://schemas.microsoft.com/office/drawing/2014/main" id="{81901749-CD57-40B5-AD1B-A4DB54561768}"/>
                    </a:ext>
                  </a:extLst>
                </p:cNvPr>
                <p:cNvSpPr/>
                <p:nvPr/>
              </p:nvSpPr>
              <p:spPr>
                <a:xfrm>
                  <a:off x="11372170" y="333962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5216 w 362309"/>
                    <a:gd name="connsiteY6" fmla="*/ 238761 h 361971"/>
                    <a:gd name="connsiteX7" fmla="*/ 280518 w 362309"/>
                    <a:gd name="connsiteY7" fmla="*/ 270042 h 361971"/>
                    <a:gd name="connsiteX8" fmla="*/ 279880 w 362309"/>
                    <a:gd name="connsiteY8" fmla="*/ 271319 h 361971"/>
                    <a:gd name="connsiteX9" fmla="*/ 181474 w 362309"/>
                    <a:gd name="connsiteY9" fmla="*/ 280895 h 361971"/>
                    <a:gd name="connsiteX10" fmla="*/ 83069 w 362309"/>
                    <a:gd name="connsiteY10" fmla="*/ 271319 h 361971"/>
                    <a:gd name="connsiteX11" fmla="*/ 82430 w 362309"/>
                    <a:gd name="connsiteY11" fmla="*/ 270042 h 361971"/>
                    <a:gd name="connsiteX12" fmla="*/ 67734 w 362309"/>
                    <a:gd name="connsiteY12" fmla="*/ 238761 h 361971"/>
                    <a:gd name="connsiteX13" fmla="*/ 68373 w 362309"/>
                    <a:gd name="connsiteY13" fmla="*/ 213225 h 361971"/>
                    <a:gd name="connsiteX14" fmla="*/ 72845 w 362309"/>
                    <a:gd name="connsiteY14" fmla="*/ 208756 h 361971"/>
                    <a:gd name="connsiteX15" fmla="*/ 90738 w 362309"/>
                    <a:gd name="connsiteY15" fmla="*/ 203011 h 361971"/>
                    <a:gd name="connsiteX16" fmla="*/ 90738 w 362309"/>
                    <a:gd name="connsiteY16" fmla="*/ 192796 h 361971"/>
                    <a:gd name="connsiteX17" fmla="*/ 121409 w 362309"/>
                    <a:gd name="connsiteY17" fmla="*/ 118104 h 361971"/>
                    <a:gd name="connsiteX18" fmla="*/ 121409 w 362309"/>
                    <a:gd name="connsiteY18" fmla="*/ 112997 h 361971"/>
                    <a:gd name="connsiteX19" fmla="*/ 125243 w 362309"/>
                    <a:gd name="connsiteY19" fmla="*/ 107251 h 361971"/>
                    <a:gd name="connsiteX20" fmla="*/ 133550 w 362309"/>
                    <a:gd name="connsiteY20" fmla="*/ 102782 h 361971"/>
                    <a:gd name="connsiteX21" fmla="*/ 160388 w 362309"/>
                    <a:gd name="connsiteY21" fmla="*/ 91930 h 361971"/>
                    <a:gd name="connsiteX22" fmla="*/ 160388 w 362309"/>
                    <a:gd name="connsiteY22" fmla="*/ 88738 h 361971"/>
                    <a:gd name="connsiteX23" fmla="*/ 166778 w 362309"/>
                    <a:gd name="connsiteY23" fmla="*/ 82354 h 361971"/>
                    <a:gd name="connsiteX24" fmla="*/ 197449 w 362309"/>
                    <a:gd name="connsiteY24" fmla="*/ 82354 h 361971"/>
                    <a:gd name="connsiteX25" fmla="*/ 203839 w 362309"/>
                    <a:gd name="connsiteY25" fmla="*/ 88738 h 361971"/>
                    <a:gd name="connsiteX26" fmla="*/ 203839 w 362309"/>
                    <a:gd name="connsiteY26" fmla="*/ 91930 h 361971"/>
                    <a:gd name="connsiteX27" fmla="*/ 230677 w 362309"/>
                    <a:gd name="connsiteY27" fmla="*/ 102782 h 361971"/>
                    <a:gd name="connsiteX28" fmla="*/ 238984 w 362309"/>
                    <a:gd name="connsiteY28" fmla="*/ 107251 h 361971"/>
                    <a:gd name="connsiteX29" fmla="*/ 242818 w 362309"/>
                    <a:gd name="connsiteY29" fmla="*/ 112997 h 361971"/>
                    <a:gd name="connsiteX30" fmla="*/ 242818 w 362309"/>
                    <a:gd name="connsiteY30" fmla="*/ 118104 h 361971"/>
                    <a:gd name="connsiteX31" fmla="*/ 273490 w 362309"/>
                    <a:gd name="connsiteY31" fmla="*/ 192796 h 361971"/>
                    <a:gd name="connsiteX32" fmla="*/ 273490 w 362309"/>
                    <a:gd name="connsiteY32" fmla="*/ 203011 h 361971"/>
                    <a:gd name="connsiteX33" fmla="*/ 291382 w 362309"/>
                    <a:gd name="connsiteY33" fmla="*/ 208756 h 361971"/>
                    <a:gd name="connsiteX34" fmla="*/ 295854 w 362309"/>
                    <a:gd name="connsiteY34" fmla="*/ 213225 h 361971"/>
                    <a:gd name="connsiteX35" fmla="*/ 295216 w 362309"/>
                    <a:gd name="connsiteY35" fmla="*/ 238761 h 361971"/>
                    <a:gd name="connsiteX36" fmla="*/ 295216 w 362309"/>
                    <a:gd name="connsiteY36" fmla="*/ 23876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295216" y="238761"/>
                      </a:moveTo>
                      <a:cubicBezTo>
                        <a:pt x="291382" y="249614"/>
                        <a:pt x="286270" y="259828"/>
                        <a:pt x="280518" y="270042"/>
                      </a:cubicBezTo>
                      <a:cubicBezTo>
                        <a:pt x="280518" y="270681"/>
                        <a:pt x="279880" y="270681"/>
                        <a:pt x="279880" y="271319"/>
                      </a:cubicBezTo>
                      <a:cubicBezTo>
                        <a:pt x="272212" y="279618"/>
                        <a:pt x="214703" y="280895"/>
                        <a:pt x="181474" y="280895"/>
                      </a:cubicBezTo>
                      <a:cubicBezTo>
                        <a:pt x="148247" y="280895"/>
                        <a:pt x="90738" y="279618"/>
                        <a:pt x="83069" y="271319"/>
                      </a:cubicBezTo>
                      <a:cubicBezTo>
                        <a:pt x="82430" y="270681"/>
                        <a:pt x="82430" y="270681"/>
                        <a:pt x="82430" y="270042"/>
                      </a:cubicBezTo>
                      <a:cubicBezTo>
                        <a:pt x="76679" y="259828"/>
                        <a:pt x="71568" y="249614"/>
                        <a:pt x="67734" y="238761"/>
                      </a:cubicBezTo>
                      <a:cubicBezTo>
                        <a:pt x="65817" y="230462"/>
                        <a:pt x="66456" y="221524"/>
                        <a:pt x="68373" y="213225"/>
                      </a:cubicBezTo>
                      <a:cubicBezTo>
                        <a:pt x="69012" y="211310"/>
                        <a:pt x="70289" y="209395"/>
                        <a:pt x="72845" y="208756"/>
                      </a:cubicBezTo>
                      <a:lnTo>
                        <a:pt x="90738" y="203011"/>
                      </a:lnTo>
                      <a:lnTo>
                        <a:pt x="90738" y="192796"/>
                      </a:lnTo>
                      <a:cubicBezTo>
                        <a:pt x="91376" y="164707"/>
                        <a:pt x="102879" y="138533"/>
                        <a:pt x="121409" y="118104"/>
                      </a:cubicBezTo>
                      <a:lnTo>
                        <a:pt x="121409" y="112997"/>
                      </a:lnTo>
                      <a:cubicBezTo>
                        <a:pt x="121409" y="110443"/>
                        <a:pt x="122687" y="108528"/>
                        <a:pt x="125243" y="107251"/>
                      </a:cubicBezTo>
                      <a:lnTo>
                        <a:pt x="133550" y="102782"/>
                      </a:lnTo>
                      <a:cubicBezTo>
                        <a:pt x="141857" y="97675"/>
                        <a:pt x="151442" y="93845"/>
                        <a:pt x="160388" y="91930"/>
                      </a:cubicBezTo>
                      <a:lnTo>
                        <a:pt x="160388" y="88738"/>
                      </a:lnTo>
                      <a:cubicBezTo>
                        <a:pt x="160388" y="84907"/>
                        <a:pt x="162943" y="82354"/>
                        <a:pt x="166778" y="82354"/>
                      </a:cubicBezTo>
                      <a:lnTo>
                        <a:pt x="197449" y="82354"/>
                      </a:lnTo>
                      <a:cubicBezTo>
                        <a:pt x="201283" y="82354"/>
                        <a:pt x="203839" y="84907"/>
                        <a:pt x="203839" y="88738"/>
                      </a:cubicBezTo>
                      <a:lnTo>
                        <a:pt x="203839" y="91930"/>
                      </a:lnTo>
                      <a:cubicBezTo>
                        <a:pt x="213424" y="94483"/>
                        <a:pt x="222370" y="97675"/>
                        <a:pt x="230677" y="102782"/>
                      </a:cubicBezTo>
                      <a:lnTo>
                        <a:pt x="238984" y="107251"/>
                      </a:lnTo>
                      <a:cubicBezTo>
                        <a:pt x="240901" y="108528"/>
                        <a:pt x="242179" y="110443"/>
                        <a:pt x="242818" y="112997"/>
                      </a:cubicBezTo>
                      <a:lnTo>
                        <a:pt x="242818" y="118104"/>
                      </a:lnTo>
                      <a:cubicBezTo>
                        <a:pt x="261987" y="138533"/>
                        <a:pt x="272851" y="165345"/>
                        <a:pt x="273490" y="192796"/>
                      </a:cubicBezTo>
                      <a:lnTo>
                        <a:pt x="273490" y="203011"/>
                      </a:lnTo>
                      <a:lnTo>
                        <a:pt x="291382" y="208756"/>
                      </a:lnTo>
                      <a:cubicBezTo>
                        <a:pt x="293298" y="209395"/>
                        <a:pt x="295216" y="211310"/>
                        <a:pt x="295854" y="213225"/>
                      </a:cubicBezTo>
                      <a:cubicBezTo>
                        <a:pt x="297132" y="221524"/>
                        <a:pt x="297132" y="229823"/>
                        <a:pt x="295216" y="238761"/>
                      </a:cubicBezTo>
                      <a:lnTo>
                        <a:pt x="295216" y="238761"/>
                      </a:lnTo>
                      <a:close/>
                    </a:path>
                  </a:pathLst>
                </a:custGeom>
                <a:grpFill/>
                <a:ln w="6390" cap="flat">
                  <a:noFill/>
                  <a:prstDash val="solid"/>
                  <a:miter/>
                </a:ln>
              </p:spPr>
              <p:txBody>
                <a:bodyPr rtlCol="0" anchor="ctr">
                  <a:noAutofit/>
                </a:bodyPr>
                <a:lstStyle/>
                <a:p>
                  <a:endParaRPr lang="en-US" sz="2000" dirty="0"/>
                </a:p>
              </p:txBody>
            </p:sp>
            <p:sp>
              <p:nvSpPr>
                <p:cNvPr id="358" name="Graphic 4">
                  <a:extLst>
                    <a:ext uri="{FF2B5EF4-FFF2-40B4-BE49-F238E27FC236}">
                      <a16:creationId xmlns:a16="http://schemas.microsoft.com/office/drawing/2014/main" id="{CD56FD88-35CA-4E60-84C3-CA1F8B7516FC}"/>
                    </a:ext>
                  </a:extLst>
                </p:cNvPr>
                <p:cNvSpPr/>
                <p:nvPr/>
              </p:nvSpPr>
              <p:spPr>
                <a:xfrm>
                  <a:off x="11521056" y="3519652"/>
                  <a:ext cx="65177" cy="65116"/>
                </a:xfrm>
                <a:custGeom>
                  <a:avLst/>
                  <a:gdLst>
                    <a:gd name="connsiteX0" fmla="*/ 32589 w 65177"/>
                    <a:gd name="connsiteY0" fmla="*/ 0 h 65116"/>
                    <a:gd name="connsiteX1" fmla="*/ 0 w 65177"/>
                    <a:gd name="connsiteY1" fmla="*/ 32558 h 65116"/>
                    <a:gd name="connsiteX2" fmla="*/ 32589 w 65177"/>
                    <a:gd name="connsiteY2" fmla="*/ 65117 h 65116"/>
                    <a:gd name="connsiteX3" fmla="*/ 65177 w 65177"/>
                    <a:gd name="connsiteY3" fmla="*/ 32558 h 65116"/>
                    <a:gd name="connsiteX4" fmla="*/ 32589 w 65177"/>
                    <a:gd name="connsiteY4" fmla="*/ 0 h 65116"/>
                    <a:gd name="connsiteX5" fmla="*/ 32589 w 65177"/>
                    <a:gd name="connsiteY5" fmla="*/ 53625 h 65116"/>
                    <a:gd name="connsiteX6" fmla="*/ 10863 w 65177"/>
                    <a:gd name="connsiteY6" fmla="*/ 31920 h 65116"/>
                    <a:gd name="connsiteX7" fmla="*/ 32589 w 65177"/>
                    <a:gd name="connsiteY7" fmla="*/ 10214 h 65116"/>
                    <a:gd name="connsiteX8" fmla="*/ 54314 w 65177"/>
                    <a:gd name="connsiteY8" fmla="*/ 31920 h 65116"/>
                    <a:gd name="connsiteX9" fmla="*/ 54314 w 65177"/>
                    <a:gd name="connsiteY9" fmla="*/ 31920 h 65116"/>
                    <a:gd name="connsiteX10" fmla="*/ 32589 w 65177"/>
                    <a:gd name="connsiteY10" fmla="*/ 53625 h 65116"/>
                    <a:gd name="connsiteX11" fmla="*/ 32589 w 65177"/>
                    <a:gd name="connsiteY11" fmla="*/ 53625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177" h="65116">
                      <a:moveTo>
                        <a:pt x="32589" y="0"/>
                      </a:moveTo>
                      <a:cubicBezTo>
                        <a:pt x="14697" y="0"/>
                        <a:pt x="0" y="14683"/>
                        <a:pt x="0" y="32558"/>
                      </a:cubicBezTo>
                      <a:cubicBezTo>
                        <a:pt x="0" y="50433"/>
                        <a:pt x="14697" y="65117"/>
                        <a:pt x="32589" y="65117"/>
                      </a:cubicBezTo>
                      <a:cubicBezTo>
                        <a:pt x="50481" y="65117"/>
                        <a:pt x="65177" y="50433"/>
                        <a:pt x="65177" y="32558"/>
                      </a:cubicBezTo>
                      <a:cubicBezTo>
                        <a:pt x="64538" y="14045"/>
                        <a:pt x="49842" y="0"/>
                        <a:pt x="32589" y="0"/>
                      </a:cubicBezTo>
                      <a:close/>
                      <a:moveTo>
                        <a:pt x="32589" y="53625"/>
                      </a:moveTo>
                      <a:cubicBezTo>
                        <a:pt x="20447" y="53625"/>
                        <a:pt x="10863" y="44049"/>
                        <a:pt x="10863" y="31920"/>
                      </a:cubicBezTo>
                      <a:cubicBezTo>
                        <a:pt x="10863" y="19790"/>
                        <a:pt x="20447" y="10214"/>
                        <a:pt x="32589" y="10214"/>
                      </a:cubicBezTo>
                      <a:cubicBezTo>
                        <a:pt x="44730" y="10214"/>
                        <a:pt x="54314" y="19790"/>
                        <a:pt x="54314" y="31920"/>
                      </a:cubicBezTo>
                      <a:cubicBezTo>
                        <a:pt x="54314" y="31920"/>
                        <a:pt x="54314" y="31920"/>
                        <a:pt x="54314" y="31920"/>
                      </a:cubicBezTo>
                      <a:cubicBezTo>
                        <a:pt x="54314" y="44049"/>
                        <a:pt x="44091" y="53625"/>
                        <a:pt x="32589" y="53625"/>
                      </a:cubicBezTo>
                      <a:lnTo>
                        <a:pt x="32589" y="53625"/>
                      </a:lnTo>
                      <a:close/>
                    </a:path>
                  </a:pathLst>
                </a:custGeom>
                <a:grpFill/>
                <a:ln w="6390" cap="flat">
                  <a:noFill/>
                  <a:prstDash val="solid"/>
                  <a:miter/>
                </a:ln>
              </p:spPr>
              <p:txBody>
                <a:bodyPr rtlCol="0" anchor="ctr">
                  <a:noAutofit/>
                </a:bodyPr>
                <a:lstStyle/>
                <a:p>
                  <a:endParaRPr lang="en-US" sz="2000" dirty="0"/>
                </a:p>
              </p:txBody>
            </p:sp>
            <p:sp>
              <p:nvSpPr>
                <p:cNvPr id="359" name="Graphic 4">
                  <a:extLst>
                    <a:ext uri="{FF2B5EF4-FFF2-40B4-BE49-F238E27FC236}">
                      <a16:creationId xmlns:a16="http://schemas.microsoft.com/office/drawing/2014/main" id="{4BCF423E-5483-4A9F-A043-7C03E61BD22D}"/>
                    </a:ext>
                  </a:extLst>
                </p:cNvPr>
                <p:cNvSpPr/>
                <p:nvPr/>
              </p:nvSpPr>
              <p:spPr>
                <a:xfrm>
                  <a:off x="11544699" y="3542634"/>
                  <a:ext cx="17892" cy="17875"/>
                </a:xfrm>
                <a:custGeom>
                  <a:avLst/>
                  <a:gdLst>
                    <a:gd name="connsiteX0" fmla="*/ 8946 w 17892"/>
                    <a:gd name="connsiteY0" fmla="*/ 0 h 17875"/>
                    <a:gd name="connsiteX1" fmla="*/ 0 w 17892"/>
                    <a:gd name="connsiteY1" fmla="*/ 8938 h 17875"/>
                    <a:gd name="connsiteX2" fmla="*/ 8946 w 17892"/>
                    <a:gd name="connsiteY2" fmla="*/ 17875 h 17875"/>
                    <a:gd name="connsiteX3" fmla="*/ 17892 w 17892"/>
                    <a:gd name="connsiteY3" fmla="*/ 8938 h 17875"/>
                    <a:gd name="connsiteX4" fmla="*/ 17892 w 17892"/>
                    <a:gd name="connsiteY4" fmla="*/ 8938 h 17875"/>
                    <a:gd name="connsiteX5" fmla="*/ 8946 w 17892"/>
                    <a:gd name="connsiteY5" fmla="*/ 0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2" h="17875">
                      <a:moveTo>
                        <a:pt x="8946" y="0"/>
                      </a:moveTo>
                      <a:cubicBezTo>
                        <a:pt x="3835" y="0"/>
                        <a:pt x="0" y="3831"/>
                        <a:pt x="0" y="8938"/>
                      </a:cubicBezTo>
                      <a:cubicBezTo>
                        <a:pt x="0" y="14045"/>
                        <a:pt x="3835" y="17875"/>
                        <a:pt x="8946" y="17875"/>
                      </a:cubicBezTo>
                      <a:cubicBezTo>
                        <a:pt x="14058" y="17875"/>
                        <a:pt x="17892" y="14045"/>
                        <a:pt x="17892" y="8938"/>
                      </a:cubicBezTo>
                      <a:cubicBezTo>
                        <a:pt x="17892" y="8938"/>
                        <a:pt x="17892" y="8938"/>
                        <a:pt x="17892" y="8938"/>
                      </a:cubicBezTo>
                      <a:cubicBezTo>
                        <a:pt x="17892" y="3831"/>
                        <a:pt x="13419" y="0"/>
                        <a:pt x="8946" y="0"/>
                      </a:cubicBezTo>
                      <a:close/>
                    </a:path>
                  </a:pathLst>
                </a:custGeom>
                <a:grpFill/>
                <a:ln w="6390" cap="flat">
                  <a:noFill/>
                  <a:prstDash val="solid"/>
                  <a:miter/>
                </a:ln>
              </p:spPr>
              <p:txBody>
                <a:bodyPr rtlCol="0" anchor="ctr">
                  <a:noAutofit/>
                </a:bodyPr>
                <a:lstStyle/>
                <a:p>
                  <a:endParaRPr lang="en-US" sz="2000" dirty="0"/>
                </a:p>
              </p:txBody>
            </p:sp>
            <p:sp>
              <p:nvSpPr>
                <p:cNvPr id="360" name="Graphic 4">
                  <a:extLst>
                    <a:ext uri="{FF2B5EF4-FFF2-40B4-BE49-F238E27FC236}">
                      <a16:creationId xmlns:a16="http://schemas.microsoft.com/office/drawing/2014/main" id="{4772DBF5-6B98-4C76-B5B7-BCAFCE8950F0}"/>
                    </a:ext>
                  </a:extLst>
                </p:cNvPr>
                <p:cNvSpPr/>
                <p:nvPr/>
              </p:nvSpPr>
              <p:spPr>
                <a:xfrm>
                  <a:off x="11473132" y="3434106"/>
                  <a:ext cx="158470" cy="132786"/>
                </a:xfrm>
                <a:custGeom>
                  <a:avLst/>
                  <a:gdLst>
                    <a:gd name="connsiteX0" fmla="*/ 35145 w 158470"/>
                    <a:gd name="connsiteY0" fmla="*/ 117465 h 132786"/>
                    <a:gd name="connsiteX1" fmla="*/ 79874 w 158470"/>
                    <a:gd name="connsiteY1" fmla="*/ 72139 h 132786"/>
                    <a:gd name="connsiteX2" fmla="*/ 125243 w 158470"/>
                    <a:gd name="connsiteY2" fmla="*/ 116827 h 132786"/>
                    <a:gd name="connsiteX3" fmla="*/ 122048 w 158470"/>
                    <a:gd name="connsiteY3" fmla="*/ 132787 h 132786"/>
                    <a:gd name="connsiteX4" fmla="*/ 158471 w 158470"/>
                    <a:gd name="connsiteY4" fmla="*/ 121934 h 132786"/>
                    <a:gd name="connsiteX5" fmla="*/ 158471 w 158470"/>
                    <a:gd name="connsiteY5" fmla="*/ 97037 h 132786"/>
                    <a:gd name="connsiteX6" fmla="*/ 140579 w 158470"/>
                    <a:gd name="connsiteY6" fmla="*/ 42773 h 132786"/>
                    <a:gd name="connsiteX7" fmla="*/ 140579 w 158470"/>
                    <a:gd name="connsiteY7" fmla="*/ 89376 h 132786"/>
                    <a:gd name="connsiteX8" fmla="*/ 134189 w 158470"/>
                    <a:gd name="connsiteY8" fmla="*/ 95760 h 132786"/>
                    <a:gd name="connsiteX9" fmla="*/ 127799 w 158470"/>
                    <a:gd name="connsiteY9" fmla="*/ 89376 h 132786"/>
                    <a:gd name="connsiteX10" fmla="*/ 127799 w 158470"/>
                    <a:gd name="connsiteY10" fmla="*/ 21067 h 132786"/>
                    <a:gd name="connsiteX11" fmla="*/ 122686 w 158470"/>
                    <a:gd name="connsiteY11" fmla="*/ 18514 h 132786"/>
                    <a:gd name="connsiteX12" fmla="*/ 101600 w 158470"/>
                    <a:gd name="connsiteY12" fmla="*/ 9576 h 132786"/>
                    <a:gd name="connsiteX13" fmla="*/ 101600 w 158470"/>
                    <a:gd name="connsiteY13" fmla="*/ 43411 h 132786"/>
                    <a:gd name="connsiteX14" fmla="*/ 106712 w 158470"/>
                    <a:gd name="connsiteY14" fmla="*/ 51710 h 132786"/>
                    <a:gd name="connsiteX15" fmla="*/ 105434 w 158470"/>
                    <a:gd name="connsiteY15" fmla="*/ 60648 h 132786"/>
                    <a:gd name="connsiteX16" fmla="*/ 96488 w 158470"/>
                    <a:gd name="connsiteY16" fmla="*/ 59371 h 132786"/>
                    <a:gd name="connsiteX17" fmla="*/ 95849 w 158470"/>
                    <a:gd name="connsiteY17" fmla="*/ 58733 h 132786"/>
                    <a:gd name="connsiteX18" fmla="*/ 89459 w 158470"/>
                    <a:gd name="connsiteY18" fmla="*/ 49157 h 132786"/>
                    <a:gd name="connsiteX19" fmla="*/ 88181 w 158470"/>
                    <a:gd name="connsiteY19" fmla="*/ 45965 h 132786"/>
                    <a:gd name="connsiteX20" fmla="*/ 88181 w 158470"/>
                    <a:gd name="connsiteY20" fmla="*/ 0 h 132786"/>
                    <a:gd name="connsiteX21" fmla="*/ 70289 w 158470"/>
                    <a:gd name="connsiteY21" fmla="*/ 0 h 132786"/>
                    <a:gd name="connsiteX22" fmla="*/ 70289 w 158470"/>
                    <a:gd name="connsiteY22" fmla="*/ 1277 h 132786"/>
                    <a:gd name="connsiteX23" fmla="*/ 70289 w 158470"/>
                    <a:gd name="connsiteY23" fmla="*/ 1915 h 132786"/>
                    <a:gd name="connsiteX24" fmla="*/ 70289 w 158470"/>
                    <a:gd name="connsiteY24" fmla="*/ 2554 h 132786"/>
                    <a:gd name="connsiteX25" fmla="*/ 70289 w 158470"/>
                    <a:gd name="connsiteY25" fmla="*/ 45965 h 132786"/>
                    <a:gd name="connsiteX26" fmla="*/ 69012 w 158470"/>
                    <a:gd name="connsiteY26" fmla="*/ 49157 h 132786"/>
                    <a:gd name="connsiteX27" fmla="*/ 62622 w 158470"/>
                    <a:gd name="connsiteY27" fmla="*/ 58733 h 132786"/>
                    <a:gd name="connsiteX28" fmla="*/ 53676 w 158470"/>
                    <a:gd name="connsiteY28" fmla="*/ 60648 h 132786"/>
                    <a:gd name="connsiteX29" fmla="*/ 51758 w 158470"/>
                    <a:gd name="connsiteY29" fmla="*/ 51710 h 132786"/>
                    <a:gd name="connsiteX30" fmla="*/ 56871 w 158470"/>
                    <a:gd name="connsiteY30" fmla="*/ 43411 h 132786"/>
                    <a:gd name="connsiteX31" fmla="*/ 56871 w 158470"/>
                    <a:gd name="connsiteY31" fmla="*/ 9576 h 132786"/>
                    <a:gd name="connsiteX32" fmla="*/ 35783 w 158470"/>
                    <a:gd name="connsiteY32" fmla="*/ 18514 h 132786"/>
                    <a:gd name="connsiteX33" fmla="*/ 30672 w 158470"/>
                    <a:gd name="connsiteY33" fmla="*/ 21067 h 132786"/>
                    <a:gd name="connsiteX34" fmla="*/ 30672 w 158470"/>
                    <a:gd name="connsiteY34" fmla="*/ 89376 h 132786"/>
                    <a:gd name="connsiteX35" fmla="*/ 24282 w 158470"/>
                    <a:gd name="connsiteY35" fmla="*/ 95760 h 132786"/>
                    <a:gd name="connsiteX36" fmla="*/ 17892 w 158470"/>
                    <a:gd name="connsiteY36" fmla="*/ 89376 h 132786"/>
                    <a:gd name="connsiteX37" fmla="*/ 17892 w 158470"/>
                    <a:gd name="connsiteY37" fmla="*/ 42773 h 132786"/>
                    <a:gd name="connsiteX38" fmla="*/ 0 w 158470"/>
                    <a:gd name="connsiteY38" fmla="*/ 97037 h 132786"/>
                    <a:gd name="connsiteX39" fmla="*/ 0 w 158470"/>
                    <a:gd name="connsiteY39" fmla="*/ 121934 h 132786"/>
                    <a:gd name="connsiteX40" fmla="*/ 36422 w 158470"/>
                    <a:gd name="connsiteY40" fmla="*/ 132787 h 132786"/>
                    <a:gd name="connsiteX41" fmla="*/ 35145 w 158470"/>
                    <a:gd name="connsiteY41" fmla="*/ 117465 h 13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8470" h="132786">
                      <a:moveTo>
                        <a:pt x="35145" y="117465"/>
                      </a:moveTo>
                      <a:cubicBezTo>
                        <a:pt x="35145" y="92568"/>
                        <a:pt x="54953" y="72139"/>
                        <a:pt x="79874" y="72139"/>
                      </a:cubicBezTo>
                      <a:cubicBezTo>
                        <a:pt x="104795" y="72139"/>
                        <a:pt x="125243" y="91930"/>
                        <a:pt x="125243" y="116827"/>
                      </a:cubicBezTo>
                      <a:cubicBezTo>
                        <a:pt x="125243" y="122573"/>
                        <a:pt x="123965" y="127680"/>
                        <a:pt x="122048" y="132787"/>
                      </a:cubicBezTo>
                      <a:cubicBezTo>
                        <a:pt x="145691" y="129595"/>
                        <a:pt x="155276" y="124488"/>
                        <a:pt x="158471" y="121934"/>
                      </a:cubicBezTo>
                      <a:lnTo>
                        <a:pt x="158471" y="97037"/>
                      </a:lnTo>
                      <a:cubicBezTo>
                        <a:pt x="157831" y="77246"/>
                        <a:pt x="151441" y="58733"/>
                        <a:pt x="140579" y="42773"/>
                      </a:cubicBezTo>
                      <a:lnTo>
                        <a:pt x="140579" y="89376"/>
                      </a:lnTo>
                      <a:cubicBezTo>
                        <a:pt x="140579" y="93206"/>
                        <a:pt x="138022" y="95760"/>
                        <a:pt x="134189" y="95760"/>
                      </a:cubicBezTo>
                      <a:cubicBezTo>
                        <a:pt x="130355" y="95760"/>
                        <a:pt x="127799" y="93206"/>
                        <a:pt x="127799" y="89376"/>
                      </a:cubicBezTo>
                      <a:lnTo>
                        <a:pt x="127799" y="21067"/>
                      </a:lnTo>
                      <a:lnTo>
                        <a:pt x="122686" y="18514"/>
                      </a:lnTo>
                      <a:cubicBezTo>
                        <a:pt x="116297" y="14683"/>
                        <a:pt x="108629" y="11491"/>
                        <a:pt x="101600" y="9576"/>
                      </a:cubicBezTo>
                      <a:lnTo>
                        <a:pt x="101600" y="43411"/>
                      </a:lnTo>
                      <a:lnTo>
                        <a:pt x="106712" y="51710"/>
                      </a:lnTo>
                      <a:cubicBezTo>
                        <a:pt x="108629" y="54264"/>
                        <a:pt x="107990" y="58733"/>
                        <a:pt x="105434" y="60648"/>
                      </a:cubicBezTo>
                      <a:cubicBezTo>
                        <a:pt x="102878" y="62563"/>
                        <a:pt x="98405" y="61925"/>
                        <a:pt x="96488" y="59371"/>
                      </a:cubicBezTo>
                      <a:cubicBezTo>
                        <a:pt x="96488" y="59371"/>
                        <a:pt x="95849" y="58733"/>
                        <a:pt x="95849" y="58733"/>
                      </a:cubicBezTo>
                      <a:lnTo>
                        <a:pt x="89459" y="49157"/>
                      </a:lnTo>
                      <a:cubicBezTo>
                        <a:pt x="88820" y="47880"/>
                        <a:pt x="88181" y="47242"/>
                        <a:pt x="88181" y="45965"/>
                      </a:cubicBezTo>
                      <a:lnTo>
                        <a:pt x="88181" y="0"/>
                      </a:lnTo>
                      <a:lnTo>
                        <a:pt x="70289" y="0"/>
                      </a:lnTo>
                      <a:lnTo>
                        <a:pt x="70289" y="1277"/>
                      </a:lnTo>
                      <a:cubicBezTo>
                        <a:pt x="70289" y="1277"/>
                        <a:pt x="70289" y="1277"/>
                        <a:pt x="70289" y="1915"/>
                      </a:cubicBezTo>
                      <a:cubicBezTo>
                        <a:pt x="70289" y="2554"/>
                        <a:pt x="70289" y="1915"/>
                        <a:pt x="70289" y="2554"/>
                      </a:cubicBezTo>
                      <a:lnTo>
                        <a:pt x="70289" y="45965"/>
                      </a:lnTo>
                      <a:cubicBezTo>
                        <a:pt x="70289" y="47242"/>
                        <a:pt x="69650" y="48519"/>
                        <a:pt x="69012" y="49157"/>
                      </a:cubicBezTo>
                      <a:lnTo>
                        <a:pt x="62622" y="58733"/>
                      </a:lnTo>
                      <a:cubicBezTo>
                        <a:pt x="60704" y="61925"/>
                        <a:pt x="56871" y="62563"/>
                        <a:pt x="53676" y="60648"/>
                      </a:cubicBezTo>
                      <a:cubicBezTo>
                        <a:pt x="50481" y="58733"/>
                        <a:pt x="49842" y="54902"/>
                        <a:pt x="51758" y="51710"/>
                      </a:cubicBezTo>
                      <a:lnTo>
                        <a:pt x="56871" y="43411"/>
                      </a:lnTo>
                      <a:lnTo>
                        <a:pt x="56871" y="9576"/>
                      </a:lnTo>
                      <a:cubicBezTo>
                        <a:pt x="49202" y="11491"/>
                        <a:pt x="42173" y="14683"/>
                        <a:pt x="35783" y="18514"/>
                      </a:cubicBezTo>
                      <a:lnTo>
                        <a:pt x="30672" y="21067"/>
                      </a:lnTo>
                      <a:lnTo>
                        <a:pt x="30672" y="89376"/>
                      </a:lnTo>
                      <a:cubicBezTo>
                        <a:pt x="30672" y="93206"/>
                        <a:pt x="28116" y="95760"/>
                        <a:pt x="24282" y="95760"/>
                      </a:cubicBezTo>
                      <a:cubicBezTo>
                        <a:pt x="20447" y="95760"/>
                        <a:pt x="17892" y="93206"/>
                        <a:pt x="17892" y="89376"/>
                      </a:cubicBezTo>
                      <a:lnTo>
                        <a:pt x="17892" y="42773"/>
                      </a:lnTo>
                      <a:cubicBezTo>
                        <a:pt x="6390" y="58733"/>
                        <a:pt x="0" y="77885"/>
                        <a:pt x="0" y="97037"/>
                      </a:cubicBezTo>
                      <a:lnTo>
                        <a:pt x="0" y="121934"/>
                      </a:lnTo>
                      <a:cubicBezTo>
                        <a:pt x="3195" y="123849"/>
                        <a:pt x="12780" y="129595"/>
                        <a:pt x="36422" y="132787"/>
                      </a:cubicBezTo>
                      <a:cubicBezTo>
                        <a:pt x="35783" y="128318"/>
                        <a:pt x="35145" y="123211"/>
                        <a:pt x="35145" y="117465"/>
                      </a:cubicBezTo>
                      <a:close/>
                    </a:path>
                  </a:pathLst>
                </a:custGeom>
                <a:grpFill/>
                <a:ln w="6390" cap="flat">
                  <a:noFill/>
                  <a:prstDash val="solid"/>
                  <a:miter/>
                </a:ln>
              </p:spPr>
              <p:txBody>
                <a:bodyPr rtlCol="0" anchor="ctr">
                  <a:noAutofit/>
                </a:bodyPr>
                <a:lstStyle/>
                <a:p>
                  <a:endParaRPr lang="en-US" sz="2000" dirty="0"/>
                </a:p>
              </p:txBody>
            </p:sp>
            <p:sp>
              <p:nvSpPr>
                <p:cNvPr id="361" name="Graphic 4">
                  <a:extLst>
                    <a:ext uri="{FF2B5EF4-FFF2-40B4-BE49-F238E27FC236}">
                      <a16:creationId xmlns:a16="http://schemas.microsoft.com/office/drawing/2014/main" id="{6F113F6E-D5C8-4111-ABFC-50C5827FBAA1}"/>
                    </a:ext>
                  </a:extLst>
                </p:cNvPr>
                <p:cNvSpPr/>
                <p:nvPr/>
              </p:nvSpPr>
              <p:spPr>
                <a:xfrm>
                  <a:off x="11450927" y="3555402"/>
                  <a:ext cx="205436" cy="51710"/>
                </a:xfrm>
                <a:custGeom>
                  <a:avLst/>
                  <a:gdLst>
                    <a:gd name="connsiteX0" fmla="*/ 194095 w 205436"/>
                    <a:gd name="connsiteY0" fmla="*/ 0 h 51710"/>
                    <a:gd name="connsiteX1" fmla="*/ 194095 w 205436"/>
                    <a:gd name="connsiteY1" fmla="*/ 3831 h 51710"/>
                    <a:gd name="connsiteX2" fmla="*/ 192816 w 205436"/>
                    <a:gd name="connsiteY2" fmla="*/ 7661 h 51710"/>
                    <a:gd name="connsiteX3" fmla="*/ 137863 w 205436"/>
                    <a:gd name="connsiteY3" fmla="*/ 25536 h 51710"/>
                    <a:gd name="connsiteX4" fmla="*/ 137224 w 205436"/>
                    <a:gd name="connsiteY4" fmla="*/ 25536 h 51710"/>
                    <a:gd name="connsiteX5" fmla="*/ 136585 w 205436"/>
                    <a:gd name="connsiteY5" fmla="*/ 25536 h 51710"/>
                    <a:gd name="connsiteX6" fmla="*/ 73325 w 205436"/>
                    <a:gd name="connsiteY6" fmla="*/ 30643 h 51710"/>
                    <a:gd name="connsiteX7" fmla="*/ 68212 w 205436"/>
                    <a:gd name="connsiteY7" fmla="*/ 25536 h 51710"/>
                    <a:gd name="connsiteX8" fmla="*/ 67573 w 205436"/>
                    <a:gd name="connsiteY8" fmla="*/ 25536 h 51710"/>
                    <a:gd name="connsiteX9" fmla="*/ 66935 w 205436"/>
                    <a:gd name="connsiteY9" fmla="*/ 25536 h 51710"/>
                    <a:gd name="connsiteX10" fmla="*/ 11981 w 205436"/>
                    <a:gd name="connsiteY10" fmla="*/ 7661 h 51710"/>
                    <a:gd name="connsiteX11" fmla="*/ 10703 w 205436"/>
                    <a:gd name="connsiteY11" fmla="*/ 3831 h 51710"/>
                    <a:gd name="connsiteX12" fmla="*/ 10703 w 205436"/>
                    <a:gd name="connsiteY12" fmla="*/ 0 h 51710"/>
                    <a:gd name="connsiteX13" fmla="*/ 479 w 205436"/>
                    <a:gd name="connsiteY13" fmla="*/ 3192 h 51710"/>
                    <a:gd name="connsiteX14" fmla="*/ 479 w 205436"/>
                    <a:gd name="connsiteY14" fmla="*/ 19152 h 51710"/>
                    <a:gd name="connsiteX15" fmla="*/ 13259 w 205436"/>
                    <a:gd name="connsiteY15" fmla="*/ 45965 h 51710"/>
                    <a:gd name="connsiteX16" fmla="*/ 102718 w 205436"/>
                    <a:gd name="connsiteY16" fmla="*/ 51710 h 51710"/>
                    <a:gd name="connsiteX17" fmla="*/ 192177 w 205436"/>
                    <a:gd name="connsiteY17" fmla="*/ 45965 h 51710"/>
                    <a:gd name="connsiteX18" fmla="*/ 204957 w 205436"/>
                    <a:gd name="connsiteY18" fmla="*/ 19152 h 51710"/>
                    <a:gd name="connsiteX19" fmla="*/ 204957 w 205436"/>
                    <a:gd name="connsiteY19" fmla="*/ 3192 h 51710"/>
                    <a:gd name="connsiteX20" fmla="*/ 194095 w 205436"/>
                    <a:gd name="connsiteY20" fmla="*/ 0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436" h="51710">
                      <a:moveTo>
                        <a:pt x="194095" y="0"/>
                      </a:moveTo>
                      <a:lnTo>
                        <a:pt x="194095" y="3831"/>
                      </a:lnTo>
                      <a:cubicBezTo>
                        <a:pt x="194095" y="5107"/>
                        <a:pt x="193456" y="6384"/>
                        <a:pt x="192816" y="7661"/>
                      </a:cubicBezTo>
                      <a:cubicBezTo>
                        <a:pt x="190900" y="10215"/>
                        <a:pt x="180676" y="21706"/>
                        <a:pt x="137863" y="25536"/>
                      </a:cubicBezTo>
                      <a:lnTo>
                        <a:pt x="137224" y="25536"/>
                      </a:lnTo>
                      <a:lnTo>
                        <a:pt x="136585" y="25536"/>
                      </a:lnTo>
                      <a:cubicBezTo>
                        <a:pt x="120610" y="44050"/>
                        <a:pt x="92494" y="46603"/>
                        <a:pt x="73325" y="30643"/>
                      </a:cubicBezTo>
                      <a:cubicBezTo>
                        <a:pt x="71407" y="29367"/>
                        <a:pt x="70130" y="27451"/>
                        <a:pt x="68212" y="25536"/>
                      </a:cubicBezTo>
                      <a:lnTo>
                        <a:pt x="67573" y="25536"/>
                      </a:lnTo>
                      <a:lnTo>
                        <a:pt x="66935" y="25536"/>
                      </a:lnTo>
                      <a:cubicBezTo>
                        <a:pt x="23483" y="21067"/>
                        <a:pt x="13259" y="9576"/>
                        <a:pt x="11981" y="7661"/>
                      </a:cubicBezTo>
                      <a:cubicBezTo>
                        <a:pt x="11342" y="6384"/>
                        <a:pt x="10703" y="5107"/>
                        <a:pt x="10703" y="3831"/>
                      </a:cubicBezTo>
                      <a:lnTo>
                        <a:pt x="10703" y="0"/>
                      </a:lnTo>
                      <a:lnTo>
                        <a:pt x="479" y="3192"/>
                      </a:lnTo>
                      <a:cubicBezTo>
                        <a:pt x="-160" y="8299"/>
                        <a:pt x="-160" y="14045"/>
                        <a:pt x="479" y="19152"/>
                      </a:cubicBezTo>
                      <a:cubicBezTo>
                        <a:pt x="3674" y="28090"/>
                        <a:pt x="8148" y="37027"/>
                        <a:pt x="13259" y="45965"/>
                      </a:cubicBezTo>
                      <a:cubicBezTo>
                        <a:pt x="17093" y="47242"/>
                        <a:pt x="35624" y="51710"/>
                        <a:pt x="102718" y="51710"/>
                      </a:cubicBezTo>
                      <a:cubicBezTo>
                        <a:pt x="169812" y="51710"/>
                        <a:pt x="187705" y="47242"/>
                        <a:pt x="192177" y="45965"/>
                      </a:cubicBezTo>
                      <a:cubicBezTo>
                        <a:pt x="197290" y="37666"/>
                        <a:pt x="201762" y="28728"/>
                        <a:pt x="204957" y="19152"/>
                      </a:cubicBezTo>
                      <a:cubicBezTo>
                        <a:pt x="205596" y="14045"/>
                        <a:pt x="205596" y="8299"/>
                        <a:pt x="204957" y="3192"/>
                      </a:cubicBezTo>
                      <a:lnTo>
                        <a:pt x="194095" y="0"/>
                      </a:lnTo>
                      <a:close/>
                    </a:path>
                  </a:pathLst>
                </a:custGeom>
                <a:grpFill/>
                <a:ln w="6390" cap="flat">
                  <a:noFill/>
                  <a:prstDash val="solid"/>
                  <a:miter/>
                </a:ln>
              </p:spPr>
              <p:txBody>
                <a:bodyPr rtlCol="0" anchor="ctr">
                  <a:noAutofit/>
                </a:bodyPr>
                <a:lstStyle/>
                <a:p>
                  <a:endParaRPr lang="en-US" sz="2000" dirty="0"/>
                </a:p>
              </p:txBody>
            </p:sp>
          </p:grpSp>
          <p:sp>
            <p:nvSpPr>
              <p:cNvPr id="355" name="TextBox 354">
                <a:extLst>
                  <a:ext uri="{FF2B5EF4-FFF2-40B4-BE49-F238E27FC236}">
                    <a16:creationId xmlns:a16="http://schemas.microsoft.com/office/drawing/2014/main" id="{E15B69CA-F56C-4B90-AA4E-1F46B1FE8DA9}"/>
                  </a:ext>
                </a:extLst>
              </p:cNvPr>
              <p:cNvSpPr txBox="1"/>
              <p:nvPr/>
            </p:nvSpPr>
            <p:spPr>
              <a:xfrm>
                <a:off x="8203955" y="5496209"/>
                <a:ext cx="526426" cy="123111"/>
              </a:xfrm>
              <a:prstGeom prst="rect">
                <a:avLst/>
              </a:prstGeom>
              <a:noFill/>
            </p:spPr>
            <p:txBody>
              <a:bodyPr wrap="square" lIns="0" tIns="0" rIns="0" bIns="0">
                <a:noAutofit/>
              </a:bodyPr>
              <a:lstStyle/>
              <a:p>
                <a:pPr algn="ctr">
                  <a:buSzPct val="100000"/>
                </a:pPr>
                <a:r>
                  <a:rPr lang="en-NZ" sz="800" dirty="0">
                    <a:solidFill>
                      <a:srgbClr val="313131"/>
                    </a:solidFill>
                  </a:rPr>
                  <a:t>Capex FTEs</a:t>
                </a:r>
              </a:p>
            </p:txBody>
          </p:sp>
          <p:sp>
            <p:nvSpPr>
              <p:cNvPr id="356" name="TextBox 355">
                <a:extLst>
                  <a:ext uri="{FF2B5EF4-FFF2-40B4-BE49-F238E27FC236}">
                    <a16:creationId xmlns:a16="http://schemas.microsoft.com/office/drawing/2014/main" id="{CCCDBD7A-9438-4C3B-B737-A74F8390BF03}"/>
                  </a:ext>
                </a:extLst>
              </p:cNvPr>
              <p:cNvSpPr txBox="1"/>
              <p:nvPr/>
            </p:nvSpPr>
            <p:spPr>
              <a:xfrm>
                <a:off x="8794328" y="5496209"/>
                <a:ext cx="526426" cy="123111"/>
              </a:xfrm>
              <a:prstGeom prst="rect">
                <a:avLst/>
              </a:prstGeom>
              <a:noFill/>
            </p:spPr>
            <p:txBody>
              <a:bodyPr wrap="square" lIns="0" tIns="0" rIns="0" bIns="0">
                <a:noAutofit/>
              </a:bodyPr>
              <a:lstStyle/>
              <a:p>
                <a:pPr algn="ctr">
                  <a:buSzPct val="100000"/>
                </a:pPr>
                <a:r>
                  <a:rPr lang="en-NZ" sz="800" dirty="0">
                    <a:solidFill>
                      <a:srgbClr val="313131"/>
                    </a:solidFill>
                  </a:rPr>
                  <a:t>Opex FTEs</a:t>
                </a:r>
              </a:p>
            </p:txBody>
          </p:sp>
        </p:grpSp>
        <p:grpSp>
          <p:nvGrpSpPr>
            <p:cNvPr id="260" name="Group 259">
              <a:extLst>
                <a:ext uri="{FF2B5EF4-FFF2-40B4-BE49-F238E27FC236}">
                  <a16:creationId xmlns:a16="http://schemas.microsoft.com/office/drawing/2014/main" id="{E94FF133-C715-4BED-B0AA-514CB415D247}"/>
                </a:ext>
              </a:extLst>
            </p:cNvPr>
            <p:cNvGrpSpPr/>
            <p:nvPr/>
          </p:nvGrpSpPr>
          <p:grpSpPr>
            <a:xfrm>
              <a:off x="8172522" y="4644914"/>
              <a:ext cx="1058772" cy="556887"/>
              <a:chOff x="8172920" y="5722588"/>
              <a:chExt cx="1174607" cy="617814"/>
            </a:xfrm>
            <a:effectLst>
              <a:outerShdw blurRad="63500" sx="102000" sy="102000" algn="ctr" rotWithShape="0">
                <a:prstClr val="black">
                  <a:alpha val="40000"/>
                </a:prstClr>
              </a:outerShdw>
            </a:effectLst>
          </p:grpSpPr>
          <p:sp>
            <p:nvSpPr>
              <p:cNvPr id="336" name="Rectangle: Top Corners Rounded 16">
                <a:extLst>
                  <a:ext uri="{FF2B5EF4-FFF2-40B4-BE49-F238E27FC236}">
                    <a16:creationId xmlns:a16="http://schemas.microsoft.com/office/drawing/2014/main" id="{3FAA4FAE-90BE-4C78-9402-3176E123BCB6}"/>
                  </a:ext>
                </a:extLst>
              </p:cNvPr>
              <p:cNvSpPr/>
              <p:nvPr/>
            </p:nvSpPr>
            <p:spPr bwMode="gray">
              <a:xfrm>
                <a:off x="8172920" y="5722588"/>
                <a:ext cx="1174607" cy="212779"/>
              </a:xfrm>
              <a:prstGeom prst="snip1Rect">
                <a:avLst>
                  <a:gd name="adj" fmla="val 34573"/>
                </a:avLst>
              </a:prstGeom>
              <a:solidFill>
                <a:srgbClr val="6FC2B4"/>
              </a:solidFill>
              <a:ln w="19050" algn="ctr">
                <a:noFill/>
                <a:miter lim="800000"/>
                <a:headEnd/>
                <a:tailEnd/>
              </a:ln>
            </p:spPr>
            <p:txBody>
              <a:bodyPr wrap="none" lIns="66675" tIns="0" rIns="66675" bIns="36000" rtlCol="0" anchor="ctr">
                <a:noAutofit/>
              </a:bodyPr>
              <a:lstStyle/>
              <a:p>
                <a:pPr algn="ctr">
                  <a:lnSpc>
                    <a:spcPct val="106000"/>
                  </a:lnSpc>
                  <a:buFont typeface="Wingdings 2" pitchFamily="18" charset="2"/>
                  <a:buNone/>
                </a:pPr>
                <a:r>
                  <a:rPr lang="en-US" sz="1000" dirty="0">
                    <a:solidFill>
                      <a:schemeClr val="bg1"/>
                    </a:solidFill>
                  </a:rPr>
                  <a:t>Rural Profile</a:t>
                </a:r>
              </a:p>
            </p:txBody>
          </p:sp>
          <p:sp>
            <p:nvSpPr>
              <p:cNvPr id="337" name="Rectangle 336">
                <a:extLst>
                  <a:ext uri="{FF2B5EF4-FFF2-40B4-BE49-F238E27FC236}">
                    <a16:creationId xmlns:a16="http://schemas.microsoft.com/office/drawing/2014/main" id="{56A8CBE5-EA55-42CB-975C-041E7BE66661}"/>
                  </a:ext>
                </a:extLst>
              </p:cNvPr>
              <p:cNvSpPr/>
              <p:nvPr/>
            </p:nvSpPr>
            <p:spPr bwMode="gray">
              <a:xfrm>
                <a:off x="8172920" y="5928975"/>
                <a:ext cx="1174607" cy="411427"/>
              </a:xfrm>
              <a:prstGeom prst="rect">
                <a:avLst/>
              </a:prstGeom>
              <a:solidFill>
                <a:schemeClr val="bg1">
                  <a:lumMod val="95000"/>
                </a:schemeClr>
              </a:solidFill>
              <a:ln w="19050" algn="ctr">
                <a:noFill/>
                <a:miter lim="800000"/>
                <a:headEnd/>
                <a:tailEnd/>
              </a:ln>
            </p:spPr>
            <p:txBody>
              <a:bodyPr wrap="none" lIns="66675" tIns="66675" rIns="66675" bIns="66675" rtlCol="0" anchor="ctr">
                <a:noAutofit/>
              </a:bodyPr>
              <a:lstStyle/>
              <a:p>
                <a:pPr algn="ctr">
                  <a:lnSpc>
                    <a:spcPct val="106000"/>
                  </a:lnSpc>
                  <a:buFont typeface="Wingdings 2" pitchFamily="18" charset="2"/>
                  <a:buNone/>
                </a:pPr>
                <a:endParaRPr lang="en-US" sz="900" dirty="0">
                  <a:solidFill>
                    <a:schemeClr val="bg1"/>
                  </a:solidFill>
                </a:endParaRPr>
              </a:p>
            </p:txBody>
          </p:sp>
          <p:grpSp>
            <p:nvGrpSpPr>
              <p:cNvPr id="338" name="Graphic 4">
                <a:extLst>
                  <a:ext uri="{FF2B5EF4-FFF2-40B4-BE49-F238E27FC236}">
                    <a16:creationId xmlns:a16="http://schemas.microsoft.com/office/drawing/2014/main" id="{813CBC98-28DF-437B-A4DD-62E5F3A8C4B1}"/>
                  </a:ext>
                </a:extLst>
              </p:cNvPr>
              <p:cNvGrpSpPr/>
              <p:nvPr/>
            </p:nvGrpSpPr>
            <p:grpSpPr>
              <a:xfrm>
                <a:off x="8936827" y="5963574"/>
                <a:ext cx="216000" cy="216000"/>
                <a:chOff x="5099169" y="2371176"/>
                <a:chExt cx="362309" cy="361971"/>
              </a:xfrm>
              <a:solidFill>
                <a:srgbClr val="6FC2B4"/>
              </a:solidFill>
            </p:grpSpPr>
            <p:sp>
              <p:nvSpPr>
                <p:cNvPr id="347" name="Graphic 4">
                  <a:extLst>
                    <a:ext uri="{FF2B5EF4-FFF2-40B4-BE49-F238E27FC236}">
                      <a16:creationId xmlns:a16="http://schemas.microsoft.com/office/drawing/2014/main" id="{22F6CCED-1473-4486-A5D1-D91C88DA95C4}"/>
                    </a:ext>
                  </a:extLst>
                </p:cNvPr>
                <p:cNvSpPr/>
                <p:nvPr/>
              </p:nvSpPr>
              <p:spPr>
                <a:xfrm>
                  <a:off x="5197574" y="2471402"/>
                  <a:ext cx="164381" cy="164866"/>
                </a:xfrm>
                <a:custGeom>
                  <a:avLst/>
                  <a:gdLst>
                    <a:gd name="connsiteX0" fmla="*/ 90098 w 164381"/>
                    <a:gd name="connsiteY0" fmla="*/ 83630 h 164866"/>
                    <a:gd name="connsiteX1" fmla="*/ 90098 w 164381"/>
                    <a:gd name="connsiteY1" fmla="*/ 83630 h 164866"/>
                    <a:gd name="connsiteX2" fmla="*/ 61343 w 164381"/>
                    <a:gd name="connsiteY2" fmla="*/ 54264 h 164866"/>
                    <a:gd name="connsiteX3" fmla="*/ 58787 w 164381"/>
                    <a:gd name="connsiteY3" fmla="*/ 41496 h 164866"/>
                    <a:gd name="connsiteX4" fmla="*/ 51758 w 164381"/>
                    <a:gd name="connsiteY4" fmla="*/ 7022 h 164866"/>
                    <a:gd name="connsiteX5" fmla="*/ 40257 w 164381"/>
                    <a:gd name="connsiteY5" fmla="*/ 0 h 164866"/>
                    <a:gd name="connsiteX6" fmla="*/ 47285 w 164381"/>
                    <a:gd name="connsiteY6" fmla="*/ 19152 h 164866"/>
                    <a:gd name="connsiteX7" fmla="*/ 18531 w 164381"/>
                    <a:gd name="connsiteY7" fmla="*/ 47880 h 164866"/>
                    <a:gd name="connsiteX8" fmla="*/ 0 w 164381"/>
                    <a:gd name="connsiteY8" fmla="*/ 40857 h 164866"/>
                    <a:gd name="connsiteX9" fmla="*/ 6390 w 164381"/>
                    <a:gd name="connsiteY9" fmla="*/ 51710 h 164866"/>
                    <a:gd name="connsiteX10" fmla="*/ 40895 w 164381"/>
                    <a:gd name="connsiteY10" fmla="*/ 60009 h 164866"/>
                    <a:gd name="connsiteX11" fmla="*/ 46646 w 164381"/>
                    <a:gd name="connsiteY11" fmla="*/ 58733 h 164866"/>
                    <a:gd name="connsiteX12" fmla="*/ 54953 w 164381"/>
                    <a:gd name="connsiteY12" fmla="*/ 62563 h 164866"/>
                    <a:gd name="connsiteX13" fmla="*/ 155914 w 164381"/>
                    <a:gd name="connsiteY13" fmla="*/ 163430 h 164866"/>
                    <a:gd name="connsiteX14" fmla="*/ 162943 w 164381"/>
                    <a:gd name="connsiteY14" fmla="*/ 163430 h 164866"/>
                    <a:gd name="connsiteX15" fmla="*/ 162943 w 164381"/>
                    <a:gd name="connsiteY15" fmla="*/ 156408 h 164866"/>
                    <a:gd name="connsiteX16" fmla="*/ 162943 w 164381"/>
                    <a:gd name="connsiteY16" fmla="*/ 156408 h 164866"/>
                    <a:gd name="connsiteX17" fmla="*/ 90098 w 164381"/>
                    <a:gd name="connsiteY17" fmla="*/ 83630 h 164866"/>
                    <a:gd name="connsiteX18" fmla="*/ 90098 w 164381"/>
                    <a:gd name="connsiteY18" fmla="*/ 83630 h 16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4381" h="164866">
                      <a:moveTo>
                        <a:pt x="90098" y="83630"/>
                      </a:moveTo>
                      <a:lnTo>
                        <a:pt x="90098" y="83630"/>
                      </a:lnTo>
                      <a:lnTo>
                        <a:pt x="61343" y="54264"/>
                      </a:lnTo>
                      <a:cubicBezTo>
                        <a:pt x="58148" y="51072"/>
                        <a:pt x="56870" y="45965"/>
                        <a:pt x="58787" y="41496"/>
                      </a:cubicBezTo>
                      <a:cubicBezTo>
                        <a:pt x="63899" y="29366"/>
                        <a:pt x="60704" y="15960"/>
                        <a:pt x="51758" y="7022"/>
                      </a:cubicBezTo>
                      <a:cubicBezTo>
                        <a:pt x="48563" y="3830"/>
                        <a:pt x="44730" y="1277"/>
                        <a:pt x="40257" y="0"/>
                      </a:cubicBezTo>
                      <a:cubicBezTo>
                        <a:pt x="44730" y="5107"/>
                        <a:pt x="47285" y="12130"/>
                        <a:pt x="47285" y="19152"/>
                      </a:cubicBezTo>
                      <a:cubicBezTo>
                        <a:pt x="47285" y="35112"/>
                        <a:pt x="34505" y="47880"/>
                        <a:pt x="18531" y="47880"/>
                      </a:cubicBezTo>
                      <a:cubicBezTo>
                        <a:pt x="11502" y="47880"/>
                        <a:pt x="5112" y="45326"/>
                        <a:pt x="0" y="40857"/>
                      </a:cubicBezTo>
                      <a:cubicBezTo>
                        <a:pt x="1278" y="44688"/>
                        <a:pt x="3834" y="48518"/>
                        <a:pt x="6390" y="51710"/>
                      </a:cubicBezTo>
                      <a:cubicBezTo>
                        <a:pt x="15336" y="60648"/>
                        <a:pt x="28755" y="63840"/>
                        <a:pt x="40895" y="60009"/>
                      </a:cubicBezTo>
                      <a:cubicBezTo>
                        <a:pt x="42812" y="58733"/>
                        <a:pt x="44730" y="58733"/>
                        <a:pt x="46646" y="58733"/>
                      </a:cubicBezTo>
                      <a:cubicBezTo>
                        <a:pt x="49841" y="58733"/>
                        <a:pt x="53036" y="60009"/>
                        <a:pt x="54953" y="62563"/>
                      </a:cubicBezTo>
                      <a:lnTo>
                        <a:pt x="155914" y="163430"/>
                      </a:lnTo>
                      <a:cubicBezTo>
                        <a:pt x="157831" y="165345"/>
                        <a:pt x="161026" y="165345"/>
                        <a:pt x="162943" y="163430"/>
                      </a:cubicBezTo>
                      <a:cubicBezTo>
                        <a:pt x="164860" y="161515"/>
                        <a:pt x="164860" y="158323"/>
                        <a:pt x="162943" y="156408"/>
                      </a:cubicBezTo>
                      <a:cubicBezTo>
                        <a:pt x="162943" y="156408"/>
                        <a:pt x="162943" y="156408"/>
                        <a:pt x="162943" y="156408"/>
                      </a:cubicBezTo>
                      <a:lnTo>
                        <a:pt x="90098" y="83630"/>
                      </a:lnTo>
                      <a:lnTo>
                        <a:pt x="90098" y="83630"/>
                      </a:lnTo>
                      <a:close/>
                    </a:path>
                  </a:pathLst>
                </a:custGeom>
                <a:grpFill/>
                <a:ln w="6390" cap="flat">
                  <a:noFill/>
                  <a:prstDash val="solid"/>
                  <a:miter/>
                </a:ln>
              </p:spPr>
              <p:txBody>
                <a:bodyPr rtlCol="0" anchor="ctr">
                  <a:noAutofit/>
                </a:bodyPr>
                <a:lstStyle/>
                <a:p>
                  <a:endParaRPr lang="en-US" sz="2000" dirty="0"/>
                </a:p>
              </p:txBody>
            </p:sp>
            <p:sp>
              <p:nvSpPr>
                <p:cNvPr id="348" name="Graphic 4">
                  <a:extLst>
                    <a:ext uri="{FF2B5EF4-FFF2-40B4-BE49-F238E27FC236}">
                      <a16:creationId xmlns:a16="http://schemas.microsoft.com/office/drawing/2014/main" id="{6373F05F-A451-4EBC-9624-EC69C98B6D74}"/>
                    </a:ext>
                  </a:extLst>
                </p:cNvPr>
                <p:cNvSpPr/>
                <p:nvPr/>
              </p:nvSpPr>
              <p:spPr>
                <a:xfrm>
                  <a:off x="5194380" y="2559501"/>
                  <a:ext cx="72845" cy="72164"/>
                </a:xfrm>
                <a:custGeom>
                  <a:avLst/>
                  <a:gdLst>
                    <a:gd name="connsiteX0" fmla="*/ 1917 w 72845"/>
                    <a:gd name="connsiteY0" fmla="*/ 62563 h 72164"/>
                    <a:gd name="connsiteX1" fmla="*/ 0 w 72845"/>
                    <a:gd name="connsiteY1" fmla="*/ 66394 h 72164"/>
                    <a:gd name="connsiteX2" fmla="*/ 1917 w 72845"/>
                    <a:gd name="connsiteY2" fmla="*/ 70224 h 72164"/>
                    <a:gd name="connsiteX3" fmla="*/ 8946 w 72845"/>
                    <a:gd name="connsiteY3" fmla="*/ 71501 h 72164"/>
                    <a:gd name="connsiteX4" fmla="*/ 9585 w 72845"/>
                    <a:gd name="connsiteY4" fmla="*/ 70862 h 72164"/>
                    <a:gd name="connsiteX5" fmla="*/ 72845 w 72845"/>
                    <a:gd name="connsiteY5" fmla="*/ 7661 h 72164"/>
                    <a:gd name="connsiteX6" fmla="*/ 65177 w 72845"/>
                    <a:gd name="connsiteY6" fmla="*/ 0 h 72164"/>
                    <a:gd name="connsiteX7" fmla="*/ 1917 w 72845"/>
                    <a:gd name="connsiteY7" fmla="*/ 62563 h 7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845" h="72164">
                      <a:moveTo>
                        <a:pt x="1917" y="62563"/>
                      </a:moveTo>
                      <a:cubicBezTo>
                        <a:pt x="639" y="63840"/>
                        <a:pt x="0" y="65117"/>
                        <a:pt x="0" y="66394"/>
                      </a:cubicBezTo>
                      <a:cubicBezTo>
                        <a:pt x="0" y="67670"/>
                        <a:pt x="639" y="68947"/>
                        <a:pt x="1917" y="70224"/>
                      </a:cubicBezTo>
                      <a:cubicBezTo>
                        <a:pt x="3834" y="72139"/>
                        <a:pt x="6390" y="72778"/>
                        <a:pt x="8946" y="71501"/>
                      </a:cubicBezTo>
                      <a:cubicBezTo>
                        <a:pt x="8946" y="71501"/>
                        <a:pt x="9585" y="70862"/>
                        <a:pt x="9585" y="70862"/>
                      </a:cubicBezTo>
                      <a:lnTo>
                        <a:pt x="72845" y="7661"/>
                      </a:lnTo>
                      <a:lnTo>
                        <a:pt x="65177" y="0"/>
                      </a:lnTo>
                      <a:lnTo>
                        <a:pt x="1917" y="62563"/>
                      </a:lnTo>
                      <a:close/>
                    </a:path>
                  </a:pathLst>
                </a:custGeom>
                <a:grpFill/>
                <a:ln w="6390" cap="flat">
                  <a:noFill/>
                  <a:prstDash val="solid"/>
                  <a:miter/>
                </a:ln>
              </p:spPr>
              <p:txBody>
                <a:bodyPr rtlCol="0" anchor="ctr">
                  <a:noAutofit/>
                </a:bodyPr>
                <a:lstStyle/>
                <a:p>
                  <a:endParaRPr lang="en-US" sz="2000" dirty="0"/>
                </a:p>
              </p:txBody>
            </p:sp>
            <p:sp>
              <p:nvSpPr>
                <p:cNvPr id="349" name="Graphic 4">
                  <a:extLst>
                    <a:ext uri="{FF2B5EF4-FFF2-40B4-BE49-F238E27FC236}">
                      <a16:creationId xmlns:a16="http://schemas.microsoft.com/office/drawing/2014/main" id="{7395CF02-DCF6-4A76-ADF7-16661BD42F89}"/>
                    </a:ext>
                  </a:extLst>
                </p:cNvPr>
                <p:cNvSpPr/>
                <p:nvPr/>
              </p:nvSpPr>
              <p:spPr>
                <a:xfrm>
                  <a:off x="5284477" y="2477786"/>
                  <a:ext cx="78596" cy="63201"/>
                </a:xfrm>
                <a:custGeom>
                  <a:avLst/>
                  <a:gdLst>
                    <a:gd name="connsiteX0" fmla="*/ 19809 w 78596"/>
                    <a:gd name="connsiteY0" fmla="*/ 0 h 63201"/>
                    <a:gd name="connsiteX1" fmla="*/ 33228 w 78596"/>
                    <a:gd name="connsiteY1" fmla="*/ 13406 h 63201"/>
                    <a:gd name="connsiteX2" fmla="*/ 33228 w 78596"/>
                    <a:gd name="connsiteY2" fmla="*/ 22344 h 63201"/>
                    <a:gd name="connsiteX3" fmla="*/ 0 w 78596"/>
                    <a:gd name="connsiteY3" fmla="*/ 55541 h 63201"/>
                    <a:gd name="connsiteX4" fmla="*/ 7668 w 78596"/>
                    <a:gd name="connsiteY4" fmla="*/ 63201 h 63201"/>
                    <a:gd name="connsiteX5" fmla="*/ 40896 w 78596"/>
                    <a:gd name="connsiteY5" fmla="*/ 30005 h 63201"/>
                    <a:gd name="connsiteX6" fmla="*/ 49841 w 78596"/>
                    <a:gd name="connsiteY6" fmla="*/ 30005 h 63201"/>
                    <a:gd name="connsiteX7" fmla="*/ 68372 w 78596"/>
                    <a:gd name="connsiteY7" fmla="*/ 48518 h 63201"/>
                    <a:gd name="connsiteX8" fmla="*/ 78596 w 78596"/>
                    <a:gd name="connsiteY8" fmla="*/ 38304 h 63201"/>
                    <a:gd name="connsiteX9" fmla="*/ 46646 w 78596"/>
                    <a:gd name="connsiteY9" fmla="*/ 6384 h 63201"/>
                    <a:gd name="connsiteX10" fmla="*/ 19809 w 78596"/>
                    <a:gd name="connsiteY10" fmla="*/ 0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596" h="63201">
                      <a:moveTo>
                        <a:pt x="19809" y="0"/>
                      </a:moveTo>
                      <a:lnTo>
                        <a:pt x="33228" y="13406"/>
                      </a:lnTo>
                      <a:cubicBezTo>
                        <a:pt x="35783" y="15960"/>
                        <a:pt x="35783" y="19790"/>
                        <a:pt x="33228" y="22344"/>
                      </a:cubicBezTo>
                      <a:lnTo>
                        <a:pt x="0" y="55541"/>
                      </a:lnTo>
                      <a:lnTo>
                        <a:pt x="7668" y="63201"/>
                      </a:lnTo>
                      <a:lnTo>
                        <a:pt x="40896" y="30005"/>
                      </a:lnTo>
                      <a:cubicBezTo>
                        <a:pt x="43451" y="27451"/>
                        <a:pt x="47286" y="27451"/>
                        <a:pt x="49841" y="30005"/>
                      </a:cubicBezTo>
                      <a:lnTo>
                        <a:pt x="68372" y="48518"/>
                      </a:lnTo>
                      <a:lnTo>
                        <a:pt x="78596" y="38304"/>
                      </a:lnTo>
                      <a:lnTo>
                        <a:pt x="46646" y="6384"/>
                      </a:lnTo>
                      <a:lnTo>
                        <a:pt x="19809" y="0"/>
                      </a:lnTo>
                      <a:close/>
                    </a:path>
                  </a:pathLst>
                </a:custGeom>
                <a:grpFill/>
                <a:ln w="6390" cap="flat">
                  <a:noFill/>
                  <a:prstDash val="solid"/>
                  <a:miter/>
                </a:ln>
              </p:spPr>
              <p:txBody>
                <a:bodyPr rtlCol="0" anchor="ctr">
                  <a:noAutofit/>
                </a:bodyPr>
                <a:lstStyle/>
                <a:p>
                  <a:endParaRPr lang="en-US" sz="2000" dirty="0"/>
                </a:p>
              </p:txBody>
            </p:sp>
            <p:sp>
              <p:nvSpPr>
                <p:cNvPr id="350" name="Graphic 4">
                  <a:extLst>
                    <a:ext uri="{FF2B5EF4-FFF2-40B4-BE49-F238E27FC236}">
                      <a16:creationId xmlns:a16="http://schemas.microsoft.com/office/drawing/2014/main" id="{14CF886C-DDC2-4F6B-9AB6-0AF1F9F8C400}"/>
                    </a:ext>
                  </a:extLst>
                </p:cNvPr>
                <p:cNvSpPr/>
                <p:nvPr/>
              </p:nvSpPr>
              <p:spPr>
                <a:xfrm>
                  <a:off x="5099169" y="2371176"/>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277962 w 362309"/>
                    <a:gd name="connsiteY7" fmla="*/ 149385 h 361971"/>
                    <a:gd name="connsiteX8" fmla="*/ 258792 w 362309"/>
                    <a:gd name="connsiteY8" fmla="*/ 168537 h 361971"/>
                    <a:gd name="connsiteX9" fmla="*/ 249846 w 362309"/>
                    <a:gd name="connsiteY9" fmla="*/ 168537 h 361971"/>
                    <a:gd name="connsiteX10" fmla="*/ 249846 w 362309"/>
                    <a:gd name="connsiteY10" fmla="*/ 168537 h 361971"/>
                    <a:gd name="connsiteX11" fmla="*/ 231316 w 362309"/>
                    <a:gd name="connsiteY11" fmla="*/ 150024 h 361971"/>
                    <a:gd name="connsiteX12" fmla="*/ 202561 w 362309"/>
                    <a:gd name="connsiteY12" fmla="*/ 178752 h 361971"/>
                    <a:gd name="connsiteX13" fmla="*/ 269655 w 362309"/>
                    <a:gd name="connsiteY13" fmla="*/ 246422 h 361971"/>
                    <a:gd name="connsiteX14" fmla="*/ 269655 w 362309"/>
                    <a:gd name="connsiteY14" fmla="*/ 271319 h 361971"/>
                    <a:gd name="connsiteX15" fmla="*/ 269655 w 362309"/>
                    <a:gd name="connsiteY15" fmla="*/ 271319 h 361971"/>
                    <a:gd name="connsiteX16" fmla="*/ 269655 w 362309"/>
                    <a:gd name="connsiteY16" fmla="*/ 271319 h 361971"/>
                    <a:gd name="connsiteX17" fmla="*/ 256876 w 362309"/>
                    <a:gd name="connsiteY17" fmla="*/ 276427 h 361971"/>
                    <a:gd name="connsiteX18" fmla="*/ 244735 w 362309"/>
                    <a:gd name="connsiteY18" fmla="*/ 271319 h 361971"/>
                    <a:gd name="connsiteX19" fmla="*/ 177640 w 362309"/>
                    <a:gd name="connsiteY19" fmla="*/ 204287 h 361971"/>
                    <a:gd name="connsiteX20" fmla="*/ 114380 w 362309"/>
                    <a:gd name="connsiteY20" fmla="*/ 267489 h 361971"/>
                    <a:gd name="connsiteX21" fmla="*/ 102239 w 362309"/>
                    <a:gd name="connsiteY21" fmla="*/ 272596 h 361971"/>
                    <a:gd name="connsiteX22" fmla="*/ 88820 w 362309"/>
                    <a:gd name="connsiteY22" fmla="*/ 266851 h 361971"/>
                    <a:gd name="connsiteX23" fmla="*/ 83069 w 362309"/>
                    <a:gd name="connsiteY23" fmla="*/ 254083 h 361971"/>
                    <a:gd name="connsiteX24" fmla="*/ 88820 w 362309"/>
                    <a:gd name="connsiteY24" fmla="*/ 241315 h 361971"/>
                    <a:gd name="connsiteX25" fmla="*/ 152080 w 362309"/>
                    <a:gd name="connsiteY25" fmla="*/ 178113 h 361971"/>
                    <a:gd name="connsiteX26" fmla="*/ 144412 w 362309"/>
                    <a:gd name="connsiteY26" fmla="*/ 170452 h 361971"/>
                    <a:gd name="connsiteX27" fmla="*/ 86264 w 362309"/>
                    <a:gd name="connsiteY27" fmla="*/ 144916 h 361971"/>
                    <a:gd name="connsiteX28" fmla="*/ 83708 w 362309"/>
                    <a:gd name="connsiteY28" fmla="*/ 121934 h 361971"/>
                    <a:gd name="connsiteX29" fmla="*/ 88181 w 362309"/>
                    <a:gd name="connsiteY29" fmla="*/ 116827 h 361971"/>
                    <a:gd name="connsiteX30" fmla="*/ 94571 w 362309"/>
                    <a:gd name="connsiteY30" fmla="*/ 118104 h 361971"/>
                    <a:gd name="connsiteX31" fmla="*/ 105434 w 362309"/>
                    <a:gd name="connsiteY31" fmla="*/ 128957 h 361971"/>
                    <a:gd name="connsiteX32" fmla="*/ 128438 w 362309"/>
                    <a:gd name="connsiteY32" fmla="*/ 128957 h 361971"/>
                    <a:gd name="connsiteX33" fmla="*/ 132911 w 362309"/>
                    <a:gd name="connsiteY33" fmla="*/ 117465 h 361971"/>
                    <a:gd name="connsiteX34" fmla="*/ 128438 w 362309"/>
                    <a:gd name="connsiteY34" fmla="*/ 105974 h 361971"/>
                    <a:gd name="connsiteX35" fmla="*/ 117575 w 362309"/>
                    <a:gd name="connsiteY35" fmla="*/ 95121 h 361971"/>
                    <a:gd name="connsiteX36" fmla="*/ 117575 w 362309"/>
                    <a:gd name="connsiteY36" fmla="*/ 86184 h 361971"/>
                    <a:gd name="connsiteX37" fmla="*/ 121409 w 362309"/>
                    <a:gd name="connsiteY37" fmla="*/ 84269 h 361971"/>
                    <a:gd name="connsiteX38" fmla="*/ 172528 w 362309"/>
                    <a:gd name="connsiteY38" fmla="*/ 121934 h 361971"/>
                    <a:gd name="connsiteX39" fmla="*/ 169972 w 362309"/>
                    <a:gd name="connsiteY39" fmla="*/ 144916 h 361971"/>
                    <a:gd name="connsiteX40" fmla="*/ 177001 w 362309"/>
                    <a:gd name="connsiteY40" fmla="*/ 151939 h 361971"/>
                    <a:gd name="connsiteX41" fmla="*/ 205756 w 362309"/>
                    <a:gd name="connsiteY41" fmla="*/ 123211 h 361971"/>
                    <a:gd name="connsiteX42" fmla="*/ 184669 w 362309"/>
                    <a:gd name="connsiteY42" fmla="*/ 102144 h 361971"/>
                    <a:gd name="connsiteX43" fmla="*/ 184669 w 362309"/>
                    <a:gd name="connsiteY43" fmla="*/ 93206 h 361971"/>
                    <a:gd name="connsiteX44" fmla="*/ 187225 w 362309"/>
                    <a:gd name="connsiteY44" fmla="*/ 90653 h 361971"/>
                    <a:gd name="connsiteX45" fmla="*/ 192976 w 362309"/>
                    <a:gd name="connsiteY45" fmla="*/ 88738 h 361971"/>
                    <a:gd name="connsiteX46" fmla="*/ 237706 w 362309"/>
                    <a:gd name="connsiteY46" fmla="*/ 99590 h 361971"/>
                    <a:gd name="connsiteX47" fmla="*/ 240901 w 362309"/>
                    <a:gd name="connsiteY47" fmla="*/ 101505 h 361971"/>
                    <a:gd name="connsiteX48" fmla="*/ 278601 w 362309"/>
                    <a:gd name="connsiteY48" fmla="*/ 139171 h 361971"/>
                    <a:gd name="connsiteX49" fmla="*/ 277962 w 362309"/>
                    <a:gd name="connsiteY49" fmla="*/ 149385 h 361971"/>
                    <a:gd name="connsiteX50" fmla="*/ 277962 w 362309"/>
                    <a:gd name="connsiteY50" fmla="*/ 149385 h 361971"/>
                    <a:gd name="connsiteX51" fmla="*/ 277962 w 362309"/>
                    <a:gd name="connsiteY51" fmla="*/ 14938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1077"/>
                        <a:pt x="281157" y="0"/>
                        <a:pt x="181474" y="0"/>
                      </a:cubicBezTo>
                      <a:cubicBezTo>
                        <a:pt x="181474" y="0"/>
                        <a:pt x="181474" y="0"/>
                        <a:pt x="181474" y="0"/>
                      </a:cubicBezTo>
                      <a:close/>
                      <a:moveTo>
                        <a:pt x="277962" y="149385"/>
                      </a:moveTo>
                      <a:lnTo>
                        <a:pt x="258792" y="168537"/>
                      </a:lnTo>
                      <a:cubicBezTo>
                        <a:pt x="256236" y="171091"/>
                        <a:pt x="252403" y="171091"/>
                        <a:pt x="249846" y="168537"/>
                      </a:cubicBezTo>
                      <a:cubicBezTo>
                        <a:pt x="249846" y="168537"/>
                        <a:pt x="249846" y="168537"/>
                        <a:pt x="249846" y="168537"/>
                      </a:cubicBezTo>
                      <a:lnTo>
                        <a:pt x="231316" y="150024"/>
                      </a:lnTo>
                      <a:lnTo>
                        <a:pt x="202561" y="178752"/>
                      </a:lnTo>
                      <a:lnTo>
                        <a:pt x="269655" y="246422"/>
                      </a:lnTo>
                      <a:cubicBezTo>
                        <a:pt x="276684" y="253444"/>
                        <a:pt x="276684" y="264297"/>
                        <a:pt x="269655" y="271319"/>
                      </a:cubicBezTo>
                      <a:cubicBezTo>
                        <a:pt x="269655" y="271319"/>
                        <a:pt x="269655" y="271319"/>
                        <a:pt x="269655" y="271319"/>
                      </a:cubicBezTo>
                      <a:lnTo>
                        <a:pt x="269655" y="271319"/>
                      </a:lnTo>
                      <a:cubicBezTo>
                        <a:pt x="266460" y="274511"/>
                        <a:pt x="261349" y="276427"/>
                        <a:pt x="256876" y="276427"/>
                      </a:cubicBezTo>
                      <a:cubicBezTo>
                        <a:pt x="252403" y="276427"/>
                        <a:pt x="247929" y="274511"/>
                        <a:pt x="244735" y="271319"/>
                      </a:cubicBezTo>
                      <a:lnTo>
                        <a:pt x="177640" y="204287"/>
                      </a:lnTo>
                      <a:lnTo>
                        <a:pt x="114380" y="267489"/>
                      </a:lnTo>
                      <a:cubicBezTo>
                        <a:pt x="111185" y="270681"/>
                        <a:pt x="106712" y="272596"/>
                        <a:pt x="102239" y="272596"/>
                      </a:cubicBezTo>
                      <a:cubicBezTo>
                        <a:pt x="97127" y="272596"/>
                        <a:pt x="92654" y="270681"/>
                        <a:pt x="88820" y="266851"/>
                      </a:cubicBezTo>
                      <a:cubicBezTo>
                        <a:pt x="85625" y="263659"/>
                        <a:pt x="83069" y="259190"/>
                        <a:pt x="83069" y="254083"/>
                      </a:cubicBezTo>
                      <a:cubicBezTo>
                        <a:pt x="83069" y="248975"/>
                        <a:pt x="84986" y="244507"/>
                        <a:pt x="88820" y="241315"/>
                      </a:cubicBezTo>
                      <a:lnTo>
                        <a:pt x="152080" y="178113"/>
                      </a:lnTo>
                      <a:lnTo>
                        <a:pt x="144412" y="170452"/>
                      </a:lnTo>
                      <a:cubicBezTo>
                        <a:pt x="121409" y="179390"/>
                        <a:pt x="95210" y="167899"/>
                        <a:pt x="86264" y="144916"/>
                      </a:cubicBezTo>
                      <a:cubicBezTo>
                        <a:pt x="83708" y="137894"/>
                        <a:pt x="82430" y="129595"/>
                        <a:pt x="83708" y="121934"/>
                      </a:cubicBezTo>
                      <a:cubicBezTo>
                        <a:pt x="84347" y="119381"/>
                        <a:pt x="85625" y="117465"/>
                        <a:pt x="88181" y="116827"/>
                      </a:cubicBezTo>
                      <a:cubicBezTo>
                        <a:pt x="90737" y="116189"/>
                        <a:pt x="92654" y="116827"/>
                        <a:pt x="94571" y="118104"/>
                      </a:cubicBezTo>
                      <a:lnTo>
                        <a:pt x="105434" y="128957"/>
                      </a:lnTo>
                      <a:cubicBezTo>
                        <a:pt x="111824" y="135341"/>
                        <a:pt x="122048" y="135341"/>
                        <a:pt x="128438" y="128957"/>
                      </a:cubicBezTo>
                      <a:cubicBezTo>
                        <a:pt x="131633" y="125765"/>
                        <a:pt x="132911" y="121934"/>
                        <a:pt x="132911" y="117465"/>
                      </a:cubicBezTo>
                      <a:cubicBezTo>
                        <a:pt x="132911" y="112997"/>
                        <a:pt x="130994" y="109166"/>
                        <a:pt x="128438" y="105974"/>
                      </a:cubicBezTo>
                      <a:lnTo>
                        <a:pt x="117575" y="95121"/>
                      </a:lnTo>
                      <a:cubicBezTo>
                        <a:pt x="115019" y="92568"/>
                        <a:pt x="115019" y="88738"/>
                        <a:pt x="117575" y="86184"/>
                      </a:cubicBezTo>
                      <a:cubicBezTo>
                        <a:pt x="118853" y="84907"/>
                        <a:pt x="119492" y="84269"/>
                        <a:pt x="121409" y="84269"/>
                      </a:cubicBezTo>
                      <a:cubicBezTo>
                        <a:pt x="145690" y="80438"/>
                        <a:pt x="168695" y="97675"/>
                        <a:pt x="172528" y="121934"/>
                      </a:cubicBezTo>
                      <a:cubicBezTo>
                        <a:pt x="173806" y="129595"/>
                        <a:pt x="172528" y="137894"/>
                        <a:pt x="169972" y="144916"/>
                      </a:cubicBezTo>
                      <a:lnTo>
                        <a:pt x="177001" y="151939"/>
                      </a:lnTo>
                      <a:lnTo>
                        <a:pt x="205756" y="123211"/>
                      </a:lnTo>
                      <a:lnTo>
                        <a:pt x="184669" y="102144"/>
                      </a:lnTo>
                      <a:cubicBezTo>
                        <a:pt x="182113" y="99590"/>
                        <a:pt x="182113" y="95760"/>
                        <a:pt x="184669" y="93206"/>
                      </a:cubicBezTo>
                      <a:lnTo>
                        <a:pt x="187225" y="90653"/>
                      </a:lnTo>
                      <a:cubicBezTo>
                        <a:pt x="188503" y="89376"/>
                        <a:pt x="191059" y="88738"/>
                        <a:pt x="192976" y="88738"/>
                      </a:cubicBezTo>
                      <a:lnTo>
                        <a:pt x="237706" y="99590"/>
                      </a:lnTo>
                      <a:cubicBezTo>
                        <a:pt x="238984" y="99590"/>
                        <a:pt x="239623" y="100229"/>
                        <a:pt x="240901" y="101505"/>
                      </a:cubicBezTo>
                      <a:lnTo>
                        <a:pt x="278601" y="139171"/>
                      </a:lnTo>
                      <a:cubicBezTo>
                        <a:pt x="280518" y="143001"/>
                        <a:pt x="280518" y="146832"/>
                        <a:pt x="277962" y="149385"/>
                      </a:cubicBezTo>
                      <a:cubicBezTo>
                        <a:pt x="277962" y="149385"/>
                        <a:pt x="277962" y="149385"/>
                        <a:pt x="277962" y="149385"/>
                      </a:cubicBezTo>
                      <a:lnTo>
                        <a:pt x="277962" y="149385"/>
                      </a:lnTo>
                      <a:close/>
                    </a:path>
                  </a:pathLst>
                </a:custGeom>
                <a:grpFill/>
                <a:ln w="6390" cap="flat">
                  <a:noFill/>
                  <a:prstDash val="solid"/>
                  <a:miter/>
                </a:ln>
              </p:spPr>
              <p:txBody>
                <a:bodyPr rtlCol="0" anchor="ctr">
                  <a:noAutofit/>
                </a:bodyPr>
                <a:lstStyle/>
                <a:p>
                  <a:endParaRPr lang="en-US" sz="2000" dirty="0"/>
                </a:p>
              </p:txBody>
            </p:sp>
          </p:grpSp>
          <p:grpSp>
            <p:nvGrpSpPr>
              <p:cNvPr id="339" name="Graphic 4">
                <a:extLst>
                  <a:ext uri="{FF2B5EF4-FFF2-40B4-BE49-F238E27FC236}">
                    <a16:creationId xmlns:a16="http://schemas.microsoft.com/office/drawing/2014/main" id="{8B218783-CCB0-481B-8605-B54BA0BB64DF}"/>
                  </a:ext>
                </a:extLst>
              </p:cNvPr>
              <p:cNvGrpSpPr/>
              <p:nvPr/>
            </p:nvGrpSpPr>
            <p:grpSpPr>
              <a:xfrm>
                <a:off x="8357189" y="5963574"/>
                <a:ext cx="216000" cy="216000"/>
                <a:chOff x="11372170" y="3339623"/>
                <a:chExt cx="362309" cy="361971"/>
              </a:xfrm>
              <a:solidFill>
                <a:srgbClr val="6FC2B4"/>
              </a:solidFill>
            </p:grpSpPr>
            <p:sp>
              <p:nvSpPr>
                <p:cNvPr id="342" name="Graphic 4">
                  <a:extLst>
                    <a:ext uri="{FF2B5EF4-FFF2-40B4-BE49-F238E27FC236}">
                      <a16:creationId xmlns:a16="http://schemas.microsoft.com/office/drawing/2014/main" id="{7E5885ED-571D-4BCA-A869-E10738E9ED1A}"/>
                    </a:ext>
                  </a:extLst>
                </p:cNvPr>
                <p:cNvSpPr/>
                <p:nvPr/>
              </p:nvSpPr>
              <p:spPr>
                <a:xfrm>
                  <a:off x="11372170" y="3339623"/>
                  <a:ext cx="362309" cy="361971"/>
                </a:xfrm>
                <a:custGeom>
                  <a:avLst/>
                  <a:gdLst>
                    <a:gd name="connsiteX0" fmla="*/ 181474 w 362309"/>
                    <a:gd name="connsiteY0" fmla="*/ 0 h 361971"/>
                    <a:gd name="connsiteX1" fmla="*/ 0 w 362309"/>
                    <a:gd name="connsiteY1" fmla="*/ 180667 h 361971"/>
                    <a:gd name="connsiteX2" fmla="*/ 180836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295216 w 362309"/>
                    <a:gd name="connsiteY6" fmla="*/ 238761 h 361971"/>
                    <a:gd name="connsiteX7" fmla="*/ 280518 w 362309"/>
                    <a:gd name="connsiteY7" fmla="*/ 270042 h 361971"/>
                    <a:gd name="connsiteX8" fmla="*/ 279880 w 362309"/>
                    <a:gd name="connsiteY8" fmla="*/ 271319 h 361971"/>
                    <a:gd name="connsiteX9" fmla="*/ 181474 w 362309"/>
                    <a:gd name="connsiteY9" fmla="*/ 280895 h 361971"/>
                    <a:gd name="connsiteX10" fmla="*/ 83069 w 362309"/>
                    <a:gd name="connsiteY10" fmla="*/ 271319 h 361971"/>
                    <a:gd name="connsiteX11" fmla="*/ 82430 w 362309"/>
                    <a:gd name="connsiteY11" fmla="*/ 270042 h 361971"/>
                    <a:gd name="connsiteX12" fmla="*/ 67734 w 362309"/>
                    <a:gd name="connsiteY12" fmla="*/ 238761 h 361971"/>
                    <a:gd name="connsiteX13" fmla="*/ 68373 w 362309"/>
                    <a:gd name="connsiteY13" fmla="*/ 213225 h 361971"/>
                    <a:gd name="connsiteX14" fmla="*/ 72845 w 362309"/>
                    <a:gd name="connsiteY14" fmla="*/ 208756 h 361971"/>
                    <a:gd name="connsiteX15" fmla="*/ 90738 w 362309"/>
                    <a:gd name="connsiteY15" fmla="*/ 203011 h 361971"/>
                    <a:gd name="connsiteX16" fmla="*/ 90738 w 362309"/>
                    <a:gd name="connsiteY16" fmla="*/ 192796 h 361971"/>
                    <a:gd name="connsiteX17" fmla="*/ 121409 w 362309"/>
                    <a:gd name="connsiteY17" fmla="*/ 118104 h 361971"/>
                    <a:gd name="connsiteX18" fmla="*/ 121409 w 362309"/>
                    <a:gd name="connsiteY18" fmla="*/ 112997 h 361971"/>
                    <a:gd name="connsiteX19" fmla="*/ 125243 w 362309"/>
                    <a:gd name="connsiteY19" fmla="*/ 107251 h 361971"/>
                    <a:gd name="connsiteX20" fmla="*/ 133550 w 362309"/>
                    <a:gd name="connsiteY20" fmla="*/ 102782 h 361971"/>
                    <a:gd name="connsiteX21" fmla="*/ 160388 w 362309"/>
                    <a:gd name="connsiteY21" fmla="*/ 91930 h 361971"/>
                    <a:gd name="connsiteX22" fmla="*/ 160388 w 362309"/>
                    <a:gd name="connsiteY22" fmla="*/ 88738 h 361971"/>
                    <a:gd name="connsiteX23" fmla="*/ 166778 w 362309"/>
                    <a:gd name="connsiteY23" fmla="*/ 82354 h 361971"/>
                    <a:gd name="connsiteX24" fmla="*/ 197449 w 362309"/>
                    <a:gd name="connsiteY24" fmla="*/ 82354 h 361971"/>
                    <a:gd name="connsiteX25" fmla="*/ 203839 w 362309"/>
                    <a:gd name="connsiteY25" fmla="*/ 88738 h 361971"/>
                    <a:gd name="connsiteX26" fmla="*/ 203839 w 362309"/>
                    <a:gd name="connsiteY26" fmla="*/ 91930 h 361971"/>
                    <a:gd name="connsiteX27" fmla="*/ 230677 w 362309"/>
                    <a:gd name="connsiteY27" fmla="*/ 102782 h 361971"/>
                    <a:gd name="connsiteX28" fmla="*/ 238984 w 362309"/>
                    <a:gd name="connsiteY28" fmla="*/ 107251 h 361971"/>
                    <a:gd name="connsiteX29" fmla="*/ 242818 w 362309"/>
                    <a:gd name="connsiteY29" fmla="*/ 112997 h 361971"/>
                    <a:gd name="connsiteX30" fmla="*/ 242818 w 362309"/>
                    <a:gd name="connsiteY30" fmla="*/ 118104 h 361971"/>
                    <a:gd name="connsiteX31" fmla="*/ 273490 w 362309"/>
                    <a:gd name="connsiteY31" fmla="*/ 192796 h 361971"/>
                    <a:gd name="connsiteX32" fmla="*/ 273490 w 362309"/>
                    <a:gd name="connsiteY32" fmla="*/ 203011 h 361971"/>
                    <a:gd name="connsiteX33" fmla="*/ 291382 w 362309"/>
                    <a:gd name="connsiteY33" fmla="*/ 208756 h 361971"/>
                    <a:gd name="connsiteX34" fmla="*/ 295854 w 362309"/>
                    <a:gd name="connsiteY34" fmla="*/ 213225 h 361971"/>
                    <a:gd name="connsiteX35" fmla="*/ 295216 w 362309"/>
                    <a:gd name="connsiteY35" fmla="*/ 238761 h 361971"/>
                    <a:gd name="connsiteX36" fmla="*/ 295216 w 362309"/>
                    <a:gd name="connsiteY36" fmla="*/ 238761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62309" h="361971">
                      <a:moveTo>
                        <a:pt x="181474" y="0"/>
                      </a:moveTo>
                      <a:cubicBezTo>
                        <a:pt x="81153" y="0"/>
                        <a:pt x="0" y="81077"/>
                        <a:pt x="0" y="180667"/>
                      </a:cubicBezTo>
                      <a:cubicBezTo>
                        <a:pt x="0" y="280895"/>
                        <a:pt x="81153" y="361972"/>
                        <a:pt x="180836" y="361972"/>
                      </a:cubicBezTo>
                      <a:cubicBezTo>
                        <a:pt x="281157" y="361972"/>
                        <a:pt x="362310" y="280895"/>
                        <a:pt x="362310" y="181305"/>
                      </a:cubicBezTo>
                      <a:cubicBezTo>
                        <a:pt x="362310" y="181305"/>
                        <a:pt x="362310" y="181305"/>
                        <a:pt x="362310" y="181305"/>
                      </a:cubicBezTo>
                      <a:cubicBezTo>
                        <a:pt x="362310" y="81077"/>
                        <a:pt x="281157" y="0"/>
                        <a:pt x="181474" y="0"/>
                      </a:cubicBezTo>
                      <a:close/>
                      <a:moveTo>
                        <a:pt x="295216" y="238761"/>
                      </a:moveTo>
                      <a:cubicBezTo>
                        <a:pt x="291382" y="249614"/>
                        <a:pt x="286270" y="259828"/>
                        <a:pt x="280518" y="270042"/>
                      </a:cubicBezTo>
                      <a:cubicBezTo>
                        <a:pt x="280518" y="270681"/>
                        <a:pt x="279880" y="270681"/>
                        <a:pt x="279880" y="271319"/>
                      </a:cubicBezTo>
                      <a:cubicBezTo>
                        <a:pt x="272212" y="279618"/>
                        <a:pt x="214703" y="280895"/>
                        <a:pt x="181474" y="280895"/>
                      </a:cubicBezTo>
                      <a:cubicBezTo>
                        <a:pt x="148247" y="280895"/>
                        <a:pt x="90738" y="279618"/>
                        <a:pt x="83069" y="271319"/>
                      </a:cubicBezTo>
                      <a:cubicBezTo>
                        <a:pt x="82430" y="270681"/>
                        <a:pt x="82430" y="270681"/>
                        <a:pt x="82430" y="270042"/>
                      </a:cubicBezTo>
                      <a:cubicBezTo>
                        <a:pt x="76679" y="259828"/>
                        <a:pt x="71568" y="249614"/>
                        <a:pt x="67734" y="238761"/>
                      </a:cubicBezTo>
                      <a:cubicBezTo>
                        <a:pt x="65817" y="230462"/>
                        <a:pt x="66456" y="221524"/>
                        <a:pt x="68373" y="213225"/>
                      </a:cubicBezTo>
                      <a:cubicBezTo>
                        <a:pt x="69012" y="211310"/>
                        <a:pt x="70289" y="209395"/>
                        <a:pt x="72845" y="208756"/>
                      </a:cubicBezTo>
                      <a:lnTo>
                        <a:pt x="90738" y="203011"/>
                      </a:lnTo>
                      <a:lnTo>
                        <a:pt x="90738" y="192796"/>
                      </a:lnTo>
                      <a:cubicBezTo>
                        <a:pt x="91376" y="164707"/>
                        <a:pt x="102879" y="138533"/>
                        <a:pt x="121409" y="118104"/>
                      </a:cubicBezTo>
                      <a:lnTo>
                        <a:pt x="121409" y="112997"/>
                      </a:lnTo>
                      <a:cubicBezTo>
                        <a:pt x="121409" y="110443"/>
                        <a:pt x="122687" y="108528"/>
                        <a:pt x="125243" y="107251"/>
                      </a:cubicBezTo>
                      <a:lnTo>
                        <a:pt x="133550" y="102782"/>
                      </a:lnTo>
                      <a:cubicBezTo>
                        <a:pt x="141857" y="97675"/>
                        <a:pt x="151442" y="93845"/>
                        <a:pt x="160388" y="91930"/>
                      </a:cubicBezTo>
                      <a:lnTo>
                        <a:pt x="160388" y="88738"/>
                      </a:lnTo>
                      <a:cubicBezTo>
                        <a:pt x="160388" y="84907"/>
                        <a:pt x="162943" y="82354"/>
                        <a:pt x="166778" y="82354"/>
                      </a:cubicBezTo>
                      <a:lnTo>
                        <a:pt x="197449" y="82354"/>
                      </a:lnTo>
                      <a:cubicBezTo>
                        <a:pt x="201283" y="82354"/>
                        <a:pt x="203839" y="84907"/>
                        <a:pt x="203839" y="88738"/>
                      </a:cubicBezTo>
                      <a:lnTo>
                        <a:pt x="203839" y="91930"/>
                      </a:lnTo>
                      <a:cubicBezTo>
                        <a:pt x="213424" y="94483"/>
                        <a:pt x="222370" y="97675"/>
                        <a:pt x="230677" y="102782"/>
                      </a:cubicBezTo>
                      <a:lnTo>
                        <a:pt x="238984" y="107251"/>
                      </a:lnTo>
                      <a:cubicBezTo>
                        <a:pt x="240901" y="108528"/>
                        <a:pt x="242179" y="110443"/>
                        <a:pt x="242818" y="112997"/>
                      </a:cubicBezTo>
                      <a:lnTo>
                        <a:pt x="242818" y="118104"/>
                      </a:lnTo>
                      <a:cubicBezTo>
                        <a:pt x="261987" y="138533"/>
                        <a:pt x="272851" y="165345"/>
                        <a:pt x="273490" y="192796"/>
                      </a:cubicBezTo>
                      <a:lnTo>
                        <a:pt x="273490" y="203011"/>
                      </a:lnTo>
                      <a:lnTo>
                        <a:pt x="291382" y="208756"/>
                      </a:lnTo>
                      <a:cubicBezTo>
                        <a:pt x="293298" y="209395"/>
                        <a:pt x="295216" y="211310"/>
                        <a:pt x="295854" y="213225"/>
                      </a:cubicBezTo>
                      <a:cubicBezTo>
                        <a:pt x="297132" y="221524"/>
                        <a:pt x="297132" y="229823"/>
                        <a:pt x="295216" y="238761"/>
                      </a:cubicBezTo>
                      <a:lnTo>
                        <a:pt x="295216" y="238761"/>
                      </a:lnTo>
                      <a:close/>
                    </a:path>
                  </a:pathLst>
                </a:custGeom>
                <a:grpFill/>
                <a:ln w="6390" cap="flat">
                  <a:noFill/>
                  <a:prstDash val="solid"/>
                  <a:miter/>
                </a:ln>
              </p:spPr>
              <p:txBody>
                <a:bodyPr rtlCol="0" anchor="ctr">
                  <a:noAutofit/>
                </a:bodyPr>
                <a:lstStyle/>
                <a:p>
                  <a:endParaRPr lang="en-US" sz="2000" dirty="0"/>
                </a:p>
              </p:txBody>
            </p:sp>
            <p:sp>
              <p:nvSpPr>
                <p:cNvPr id="343" name="Graphic 4">
                  <a:extLst>
                    <a:ext uri="{FF2B5EF4-FFF2-40B4-BE49-F238E27FC236}">
                      <a16:creationId xmlns:a16="http://schemas.microsoft.com/office/drawing/2014/main" id="{F9A6C7DA-4213-4415-BC9F-904F2C920EBB}"/>
                    </a:ext>
                  </a:extLst>
                </p:cNvPr>
                <p:cNvSpPr/>
                <p:nvPr/>
              </p:nvSpPr>
              <p:spPr>
                <a:xfrm>
                  <a:off x="11521056" y="3519652"/>
                  <a:ext cx="65177" cy="65116"/>
                </a:xfrm>
                <a:custGeom>
                  <a:avLst/>
                  <a:gdLst>
                    <a:gd name="connsiteX0" fmla="*/ 32589 w 65177"/>
                    <a:gd name="connsiteY0" fmla="*/ 0 h 65116"/>
                    <a:gd name="connsiteX1" fmla="*/ 0 w 65177"/>
                    <a:gd name="connsiteY1" fmla="*/ 32558 h 65116"/>
                    <a:gd name="connsiteX2" fmla="*/ 32589 w 65177"/>
                    <a:gd name="connsiteY2" fmla="*/ 65117 h 65116"/>
                    <a:gd name="connsiteX3" fmla="*/ 65177 w 65177"/>
                    <a:gd name="connsiteY3" fmla="*/ 32558 h 65116"/>
                    <a:gd name="connsiteX4" fmla="*/ 32589 w 65177"/>
                    <a:gd name="connsiteY4" fmla="*/ 0 h 65116"/>
                    <a:gd name="connsiteX5" fmla="*/ 32589 w 65177"/>
                    <a:gd name="connsiteY5" fmla="*/ 53625 h 65116"/>
                    <a:gd name="connsiteX6" fmla="*/ 10863 w 65177"/>
                    <a:gd name="connsiteY6" fmla="*/ 31920 h 65116"/>
                    <a:gd name="connsiteX7" fmla="*/ 32589 w 65177"/>
                    <a:gd name="connsiteY7" fmla="*/ 10214 h 65116"/>
                    <a:gd name="connsiteX8" fmla="*/ 54314 w 65177"/>
                    <a:gd name="connsiteY8" fmla="*/ 31920 h 65116"/>
                    <a:gd name="connsiteX9" fmla="*/ 54314 w 65177"/>
                    <a:gd name="connsiteY9" fmla="*/ 31920 h 65116"/>
                    <a:gd name="connsiteX10" fmla="*/ 32589 w 65177"/>
                    <a:gd name="connsiteY10" fmla="*/ 53625 h 65116"/>
                    <a:gd name="connsiteX11" fmla="*/ 32589 w 65177"/>
                    <a:gd name="connsiteY11" fmla="*/ 53625 h 65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177" h="65116">
                      <a:moveTo>
                        <a:pt x="32589" y="0"/>
                      </a:moveTo>
                      <a:cubicBezTo>
                        <a:pt x="14697" y="0"/>
                        <a:pt x="0" y="14683"/>
                        <a:pt x="0" y="32558"/>
                      </a:cubicBezTo>
                      <a:cubicBezTo>
                        <a:pt x="0" y="50433"/>
                        <a:pt x="14697" y="65117"/>
                        <a:pt x="32589" y="65117"/>
                      </a:cubicBezTo>
                      <a:cubicBezTo>
                        <a:pt x="50481" y="65117"/>
                        <a:pt x="65177" y="50433"/>
                        <a:pt x="65177" y="32558"/>
                      </a:cubicBezTo>
                      <a:cubicBezTo>
                        <a:pt x="64538" y="14045"/>
                        <a:pt x="49842" y="0"/>
                        <a:pt x="32589" y="0"/>
                      </a:cubicBezTo>
                      <a:close/>
                      <a:moveTo>
                        <a:pt x="32589" y="53625"/>
                      </a:moveTo>
                      <a:cubicBezTo>
                        <a:pt x="20447" y="53625"/>
                        <a:pt x="10863" y="44049"/>
                        <a:pt x="10863" y="31920"/>
                      </a:cubicBezTo>
                      <a:cubicBezTo>
                        <a:pt x="10863" y="19790"/>
                        <a:pt x="20447" y="10214"/>
                        <a:pt x="32589" y="10214"/>
                      </a:cubicBezTo>
                      <a:cubicBezTo>
                        <a:pt x="44730" y="10214"/>
                        <a:pt x="54314" y="19790"/>
                        <a:pt x="54314" y="31920"/>
                      </a:cubicBezTo>
                      <a:cubicBezTo>
                        <a:pt x="54314" y="31920"/>
                        <a:pt x="54314" y="31920"/>
                        <a:pt x="54314" y="31920"/>
                      </a:cubicBezTo>
                      <a:cubicBezTo>
                        <a:pt x="54314" y="44049"/>
                        <a:pt x="44091" y="53625"/>
                        <a:pt x="32589" y="53625"/>
                      </a:cubicBezTo>
                      <a:lnTo>
                        <a:pt x="32589" y="53625"/>
                      </a:lnTo>
                      <a:close/>
                    </a:path>
                  </a:pathLst>
                </a:custGeom>
                <a:grpFill/>
                <a:ln w="6390" cap="flat">
                  <a:noFill/>
                  <a:prstDash val="solid"/>
                  <a:miter/>
                </a:ln>
              </p:spPr>
              <p:txBody>
                <a:bodyPr rtlCol="0" anchor="ctr">
                  <a:noAutofit/>
                </a:bodyPr>
                <a:lstStyle/>
                <a:p>
                  <a:endParaRPr lang="en-US" sz="2000" dirty="0"/>
                </a:p>
              </p:txBody>
            </p:sp>
            <p:sp>
              <p:nvSpPr>
                <p:cNvPr id="344" name="Graphic 4">
                  <a:extLst>
                    <a:ext uri="{FF2B5EF4-FFF2-40B4-BE49-F238E27FC236}">
                      <a16:creationId xmlns:a16="http://schemas.microsoft.com/office/drawing/2014/main" id="{C990A433-38DF-4381-A00B-17B87FAC571C}"/>
                    </a:ext>
                  </a:extLst>
                </p:cNvPr>
                <p:cNvSpPr/>
                <p:nvPr/>
              </p:nvSpPr>
              <p:spPr>
                <a:xfrm>
                  <a:off x="11544699" y="3542634"/>
                  <a:ext cx="17892" cy="17875"/>
                </a:xfrm>
                <a:custGeom>
                  <a:avLst/>
                  <a:gdLst>
                    <a:gd name="connsiteX0" fmla="*/ 8946 w 17892"/>
                    <a:gd name="connsiteY0" fmla="*/ 0 h 17875"/>
                    <a:gd name="connsiteX1" fmla="*/ 0 w 17892"/>
                    <a:gd name="connsiteY1" fmla="*/ 8938 h 17875"/>
                    <a:gd name="connsiteX2" fmla="*/ 8946 w 17892"/>
                    <a:gd name="connsiteY2" fmla="*/ 17875 h 17875"/>
                    <a:gd name="connsiteX3" fmla="*/ 17892 w 17892"/>
                    <a:gd name="connsiteY3" fmla="*/ 8938 h 17875"/>
                    <a:gd name="connsiteX4" fmla="*/ 17892 w 17892"/>
                    <a:gd name="connsiteY4" fmla="*/ 8938 h 17875"/>
                    <a:gd name="connsiteX5" fmla="*/ 8946 w 17892"/>
                    <a:gd name="connsiteY5" fmla="*/ 0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2" h="17875">
                      <a:moveTo>
                        <a:pt x="8946" y="0"/>
                      </a:moveTo>
                      <a:cubicBezTo>
                        <a:pt x="3835" y="0"/>
                        <a:pt x="0" y="3831"/>
                        <a:pt x="0" y="8938"/>
                      </a:cubicBezTo>
                      <a:cubicBezTo>
                        <a:pt x="0" y="14045"/>
                        <a:pt x="3835" y="17875"/>
                        <a:pt x="8946" y="17875"/>
                      </a:cubicBezTo>
                      <a:cubicBezTo>
                        <a:pt x="14058" y="17875"/>
                        <a:pt x="17892" y="14045"/>
                        <a:pt x="17892" y="8938"/>
                      </a:cubicBezTo>
                      <a:cubicBezTo>
                        <a:pt x="17892" y="8938"/>
                        <a:pt x="17892" y="8938"/>
                        <a:pt x="17892" y="8938"/>
                      </a:cubicBezTo>
                      <a:cubicBezTo>
                        <a:pt x="17892" y="3831"/>
                        <a:pt x="13419" y="0"/>
                        <a:pt x="8946" y="0"/>
                      </a:cubicBezTo>
                      <a:close/>
                    </a:path>
                  </a:pathLst>
                </a:custGeom>
                <a:grpFill/>
                <a:ln w="6390" cap="flat">
                  <a:noFill/>
                  <a:prstDash val="solid"/>
                  <a:miter/>
                </a:ln>
              </p:spPr>
              <p:txBody>
                <a:bodyPr rtlCol="0" anchor="ctr">
                  <a:noAutofit/>
                </a:bodyPr>
                <a:lstStyle/>
                <a:p>
                  <a:endParaRPr lang="en-US" sz="2000" dirty="0"/>
                </a:p>
              </p:txBody>
            </p:sp>
            <p:sp>
              <p:nvSpPr>
                <p:cNvPr id="345" name="Graphic 4">
                  <a:extLst>
                    <a:ext uri="{FF2B5EF4-FFF2-40B4-BE49-F238E27FC236}">
                      <a16:creationId xmlns:a16="http://schemas.microsoft.com/office/drawing/2014/main" id="{8611AC68-318F-4431-9CD8-EABA395F062D}"/>
                    </a:ext>
                  </a:extLst>
                </p:cNvPr>
                <p:cNvSpPr/>
                <p:nvPr/>
              </p:nvSpPr>
              <p:spPr>
                <a:xfrm>
                  <a:off x="11473132" y="3434106"/>
                  <a:ext cx="158470" cy="132786"/>
                </a:xfrm>
                <a:custGeom>
                  <a:avLst/>
                  <a:gdLst>
                    <a:gd name="connsiteX0" fmla="*/ 35145 w 158470"/>
                    <a:gd name="connsiteY0" fmla="*/ 117465 h 132786"/>
                    <a:gd name="connsiteX1" fmla="*/ 79874 w 158470"/>
                    <a:gd name="connsiteY1" fmla="*/ 72139 h 132786"/>
                    <a:gd name="connsiteX2" fmla="*/ 125243 w 158470"/>
                    <a:gd name="connsiteY2" fmla="*/ 116827 h 132786"/>
                    <a:gd name="connsiteX3" fmla="*/ 122048 w 158470"/>
                    <a:gd name="connsiteY3" fmla="*/ 132787 h 132786"/>
                    <a:gd name="connsiteX4" fmla="*/ 158471 w 158470"/>
                    <a:gd name="connsiteY4" fmla="*/ 121934 h 132786"/>
                    <a:gd name="connsiteX5" fmla="*/ 158471 w 158470"/>
                    <a:gd name="connsiteY5" fmla="*/ 97037 h 132786"/>
                    <a:gd name="connsiteX6" fmla="*/ 140579 w 158470"/>
                    <a:gd name="connsiteY6" fmla="*/ 42773 h 132786"/>
                    <a:gd name="connsiteX7" fmla="*/ 140579 w 158470"/>
                    <a:gd name="connsiteY7" fmla="*/ 89376 h 132786"/>
                    <a:gd name="connsiteX8" fmla="*/ 134189 w 158470"/>
                    <a:gd name="connsiteY8" fmla="*/ 95760 h 132786"/>
                    <a:gd name="connsiteX9" fmla="*/ 127799 w 158470"/>
                    <a:gd name="connsiteY9" fmla="*/ 89376 h 132786"/>
                    <a:gd name="connsiteX10" fmla="*/ 127799 w 158470"/>
                    <a:gd name="connsiteY10" fmla="*/ 21067 h 132786"/>
                    <a:gd name="connsiteX11" fmla="*/ 122686 w 158470"/>
                    <a:gd name="connsiteY11" fmla="*/ 18514 h 132786"/>
                    <a:gd name="connsiteX12" fmla="*/ 101600 w 158470"/>
                    <a:gd name="connsiteY12" fmla="*/ 9576 h 132786"/>
                    <a:gd name="connsiteX13" fmla="*/ 101600 w 158470"/>
                    <a:gd name="connsiteY13" fmla="*/ 43411 h 132786"/>
                    <a:gd name="connsiteX14" fmla="*/ 106712 w 158470"/>
                    <a:gd name="connsiteY14" fmla="*/ 51710 h 132786"/>
                    <a:gd name="connsiteX15" fmla="*/ 105434 w 158470"/>
                    <a:gd name="connsiteY15" fmla="*/ 60648 h 132786"/>
                    <a:gd name="connsiteX16" fmla="*/ 96488 w 158470"/>
                    <a:gd name="connsiteY16" fmla="*/ 59371 h 132786"/>
                    <a:gd name="connsiteX17" fmla="*/ 95849 w 158470"/>
                    <a:gd name="connsiteY17" fmla="*/ 58733 h 132786"/>
                    <a:gd name="connsiteX18" fmla="*/ 89459 w 158470"/>
                    <a:gd name="connsiteY18" fmla="*/ 49157 h 132786"/>
                    <a:gd name="connsiteX19" fmla="*/ 88181 w 158470"/>
                    <a:gd name="connsiteY19" fmla="*/ 45965 h 132786"/>
                    <a:gd name="connsiteX20" fmla="*/ 88181 w 158470"/>
                    <a:gd name="connsiteY20" fmla="*/ 0 h 132786"/>
                    <a:gd name="connsiteX21" fmla="*/ 70289 w 158470"/>
                    <a:gd name="connsiteY21" fmla="*/ 0 h 132786"/>
                    <a:gd name="connsiteX22" fmla="*/ 70289 w 158470"/>
                    <a:gd name="connsiteY22" fmla="*/ 1277 h 132786"/>
                    <a:gd name="connsiteX23" fmla="*/ 70289 w 158470"/>
                    <a:gd name="connsiteY23" fmla="*/ 1915 h 132786"/>
                    <a:gd name="connsiteX24" fmla="*/ 70289 w 158470"/>
                    <a:gd name="connsiteY24" fmla="*/ 2554 h 132786"/>
                    <a:gd name="connsiteX25" fmla="*/ 70289 w 158470"/>
                    <a:gd name="connsiteY25" fmla="*/ 45965 h 132786"/>
                    <a:gd name="connsiteX26" fmla="*/ 69012 w 158470"/>
                    <a:gd name="connsiteY26" fmla="*/ 49157 h 132786"/>
                    <a:gd name="connsiteX27" fmla="*/ 62622 w 158470"/>
                    <a:gd name="connsiteY27" fmla="*/ 58733 h 132786"/>
                    <a:gd name="connsiteX28" fmla="*/ 53676 w 158470"/>
                    <a:gd name="connsiteY28" fmla="*/ 60648 h 132786"/>
                    <a:gd name="connsiteX29" fmla="*/ 51758 w 158470"/>
                    <a:gd name="connsiteY29" fmla="*/ 51710 h 132786"/>
                    <a:gd name="connsiteX30" fmla="*/ 56871 w 158470"/>
                    <a:gd name="connsiteY30" fmla="*/ 43411 h 132786"/>
                    <a:gd name="connsiteX31" fmla="*/ 56871 w 158470"/>
                    <a:gd name="connsiteY31" fmla="*/ 9576 h 132786"/>
                    <a:gd name="connsiteX32" fmla="*/ 35783 w 158470"/>
                    <a:gd name="connsiteY32" fmla="*/ 18514 h 132786"/>
                    <a:gd name="connsiteX33" fmla="*/ 30672 w 158470"/>
                    <a:gd name="connsiteY33" fmla="*/ 21067 h 132786"/>
                    <a:gd name="connsiteX34" fmla="*/ 30672 w 158470"/>
                    <a:gd name="connsiteY34" fmla="*/ 89376 h 132786"/>
                    <a:gd name="connsiteX35" fmla="*/ 24282 w 158470"/>
                    <a:gd name="connsiteY35" fmla="*/ 95760 h 132786"/>
                    <a:gd name="connsiteX36" fmla="*/ 17892 w 158470"/>
                    <a:gd name="connsiteY36" fmla="*/ 89376 h 132786"/>
                    <a:gd name="connsiteX37" fmla="*/ 17892 w 158470"/>
                    <a:gd name="connsiteY37" fmla="*/ 42773 h 132786"/>
                    <a:gd name="connsiteX38" fmla="*/ 0 w 158470"/>
                    <a:gd name="connsiteY38" fmla="*/ 97037 h 132786"/>
                    <a:gd name="connsiteX39" fmla="*/ 0 w 158470"/>
                    <a:gd name="connsiteY39" fmla="*/ 121934 h 132786"/>
                    <a:gd name="connsiteX40" fmla="*/ 36422 w 158470"/>
                    <a:gd name="connsiteY40" fmla="*/ 132787 h 132786"/>
                    <a:gd name="connsiteX41" fmla="*/ 35145 w 158470"/>
                    <a:gd name="connsiteY41" fmla="*/ 117465 h 1327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8470" h="132786">
                      <a:moveTo>
                        <a:pt x="35145" y="117465"/>
                      </a:moveTo>
                      <a:cubicBezTo>
                        <a:pt x="35145" y="92568"/>
                        <a:pt x="54953" y="72139"/>
                        <a:pt x="79874" y="72139"/>
                      </a:cubicBezTo>
                      <a:cubicBezTo>
                        <a:pt x="104795" y="72139"/>
                        <a:pt x="125243" y="91930"/>
                        <a:pt x="125243" y="116827"/>
                      </a:cubicBezTo>
                      <a:cubicBezTo>
                        <a:pt x="125243" y="122573"/>
                        <a:pt x="123965" y="127680"/>
                        <a:pt x="122048" y="132787"/>
                      </a:cubicBezTo>
                      <a:cubicBezTo>
                        <a:pt x="145691" y="129595"/>
                        <a:pt x="155276" y="124488"/>
                        <a:pt x="158471" y="121934"/>
                      </a:cubicBezTo>
                      <a:lnTo>
                        <a:pt x="158471" y="97037"/>
                      </a:lnTo>
                      <a:cubicBezTo>
                        <a:pt x="157831" y="77246"/>
                        <a:pt x="151441" y="58733"/>
                        <a:pt x="140579" y="42773"/>
                      </a:cubicBezTo>
                      <a:lnTo>
                        <a:pt x="140579" y="89376"/>
                      </a:lnTo>
                      <a:cubicBezTo>
                        <a:pt x="140579" y="93206"/>
                        <a:pt x="138022" y="95760"/>
                        <a:pt x="134189" y="95760"/>
                      </a:cubicBezTo>
                      <a:cubicBezTo>
                        <a:pt x="130355" y="95760"/>
                        <a:pt x="127799" y="93206"/>
                        <a:pt x="127799" y="89376"/>
                      </a:cubicBezTo>
                      <a:lnTo>
                        <a:pt x="127799" y="21067"/>
                      </a:lnTo>
                      <a:lnTo>
                        <a:pt x="122686" y="18514"/>
                      </a:lnTo>
                      <a:cubicBezTo>
                        <a:pt x="116297" y="14683"/>
                        <a:pt x="108629" y="11491"/>
                        <a:pt x="101600" y="9576"/>
                      </a:cubicBezTo>
                      <a:lnTo>
                        <a:pt x="101600" y="43411"/>
                      </a:lnTo>
                      <a:lnTo>
                        <a:pt x="106712" y="51710"/>
                      </a:lnTo>
                      <a:cubicBezTo>
                        <a:pt x="108629" y="54264"/>
                        <a:pt x="107990" y="58733"/>
                        <a:pt x="105434" y="60648"/>
                      </a:cubicBezTo>
                      <a:cubicBezTo>
                        <a:pt x="102878" y="62563"/>
                        <a:pt x="98405" y="61925"/>
                        <a:pt x="96488" y="59371"/>
                      </a:cubicBezTo>
                      <a:cubicBezTo>
                        <a:pt x="96488" y="59371"/>
                        <a:pt x="95849" y="58733"/>
                        <a:pt x="95849" y="58733"/>
                      </a:cubicBezTo>
                      <a:lnTo>
                        <a:pt x="89459" y="49157"/>
                      </a:lnTo>
                      <a:cubicBezTo>
                        <a:pt x="88820" y="47880"/>
                        <a:pt x="88181" y="47242"/>
                        <a:pt x="88181" y="45965"/>
                      </a:cubicBezTo>
                      <a:lnTo>
                        <a:pt x="88181" y="0"/>
                      </a:lnTo>
                      <a:lnTo>
                        <a:pt x="70289" y="0"/>
                      </a:lnTo>
                      <a:lnTo>
                        <a:pt x="70289" y="1277"/>
                      </a:lnTo>
                      <a:cubicBezTo>
                        <a:pt x="70289" y="1277"/>
                        <a:pt x="70289" y="1277"/>
                        <a:pt x="70289" y="1915"/>
                      </a:cubicBezTo>
                      <a:cubicBezTo>
                        <a:pt x="70289" y="2554"/>
                        <a:pt x="70289" y="1915"/>
                        <a:pt x="70289" y="2554"/>
                      </a:cubicBezTo>
                      <a:lnTo>
                        <a:pt x="70289" y="45965"/>
                      </a:lnTo>
                      <a:cubicBezTo>
                        <a:pt x="70289" y="47242"/>
                        <a:pt x="69650" y="48519"/>
                        <a:pt x="69012" y="49157"/>
                      </a:cubicBezTo>
                      <a:lnTo>
                        <a:pt x="62622" y="58733"/>
                      </a:lnTo>
                      <a:cubicBezTo>
                        <a:pt x="60704" y="61925"/>
                        <a:pt x="56871" y="62563"/>
                        <a:pt x="53676" y="60648"/>
                      </a:cubicBezTo>
                      <a:cubicBezTo>
                        <a:pt x="50481" y="58733"/>
                        <a:pt x="49842" y="54902"/>
                        <a:pt x="51758" y="51710"/>
                      </a:cubicBezTo>
                      <a:lnTo>
                        <a:pt x="56871" y="43411"/>
                      </a:lnTo>
                      <a:lnTo>
                        <a:pt x="56871" y="9576"/>
                      </a:lnTo>
                      <a:cubicBezTo>
                        <a:pt x="49202" y="11491"/>
                        <a:pt x="42173" y="14683"/>
                        <a:pt x="35783" y="18514"/>
                      </a:cubicBezTo>
                      <a:lnTo>
                        <a:pt x="30672" y="21067"/>
                      </a:lnTo>
                      <a:lnTo>
                        <a:pt x="30672" y="89376"/>
                      </a:lnTo>
                      <a:cubicBezTo>
                        <a:pt x="30672" y="93206"/>
                        <a:pt x="28116" y="95760"/>
                        <a:pt x="24282" y="95760"/>
                      </a:cubicBezTo>
                      <a:cubicBezTo>
                        <a:pt x="20447" y="95760"/>
                        <a:pt x="17892" y="93206"/>
                        <a:pt x="17892" y="89376"/>
                      </a:cubicBezTo>
                      <a:lnTo>
                        <a:pt x="17892" y="42773"/>
                      </a:lnTo>
                      <a:cubicBezTo>
                        <a:pt x="6390" y="58733"/>
                        <a:pt x="0" y="77885"/>
                        <a:pt x="0" y="97037"/>
                      </a:cubicBezTo>
                      <a:lnTo>
                        <a:pt x="0" y="121934"/>
                      </a:lnTo>
                      <a:cubicBezTo>
                        <a:pt x="3195" y="123849"/>
                        <a:pt x="12780" y="129595"/>
                        <a:pt x="36422" y="132787"/>
                      </a:cubicBezTo>
                      <a:cubicBezTo>
                        <a:pt x="35783" y="128318"/>
                        <a:pt x="35145" y="123211"/>
                        <a:pt x="35145" y="117465"/>
                      </a:cubicBezTo>
                      <a:close/>
                    </a:path>
                  </a:pathLst>
                </a:custGeom>
                <a:grpFill/>
                <a:ln w="6390" cap="flat">
                  <a:noFill/>
                  <a:prstDash val="solid"/>
                  <a:miter/>
                </a:ln>
              </p:spPr>
              <p:txBody>
                <a:bodyPr rtlCol="0" anchor="ctr">
                  <a:noAutofit/>
                </a:bodyPr>
                <a:lstStyle/>
                <a:p>
                  <a:endParaRPr lang="en-US" sz="2000" dirty="0"/>
                </a:p>
              </p:txBody>
            </p:sp>
            <p:sp>
              <p:nvSpPr>
                <p:cNvPr id="346" name="Graphic 4">
                  <a:extLst>
                    <a:ext uri="{FF2B5EF4-FFF2-40B4-BE49-F238E27FC236}">
                      <a16:creationId xmlns:a16="http://schemas.microsoft.com/office/drawing/2014/main" id="{6D07DBF3-87B4-449B-A49C-741975274365}"/>
                    </a:ext>
                  </a:extLst>
                </p:cNvPr>
                <p:cNvSpPr/>
                <p:nvPr/>
              </p:nvSpPr>
              <p:spPr>
                <a:xfrm>
                  <a:off x="11450927" y="3555402"/>
                  <a:ext cx="205436" cy="51710"/>
                </a:xfrm>
                <a:custGeom>
                  <a:avLst/>
                  <a:gdLst>
                    <a:gd name="connsiteX0" fmla="*/ 194095 w 205436"/>
                    <a:gd name="connsiteY0" fmla="*/ 0 h 51710"/>
                    <a:gd name="connsiteX1" fmla="*/ 194095 w 205436"/>
                    <a:gd name="connsiteY1" fmla="*/ 3831 h 51710"/>
                    <a:gd name="connsiteX2" fmla="*/ 192816 w 205436"/>
                    <a:gd name="connsiteY2" fmla="*/ 7661 h 51710"/>
                    <a:gd name="connsiteX3" fmla="*/ 137863 w 205436"/>
                    <a:gd name="connsiteY3" fmla="*/ 25536 h 51710"/>
                    <a:gd name="connsiteX4" fmla="*/ 137224 w 205436"/>
                    <a:gd name="connsiteY4" fmla="*/ 25536 h 51710"/>
                    <a:gd name="connsiteX5" fmla="*/ 136585 w 205436"/>
                    <a:gd name="connsiteY5" fmla="*/ 25536 h 51710"/>
                    <a:gd name="connsiteX6" fmla="*/ 73325 w 205436"/>
                    <a:gd name="connsiteY6" fmla="*/ 30643 h 51710"/>
                    <a:gd name="connsiteX7" fmla="*/ 68212 w 205436"/>
                    <a:gd name="connsiteY7" fmla="*/ 25536 h 51710"/>
                    <a:gd name="connsiteX8" fmla="*/ 67573 w 205436"/>
                    <a:gd name="connsiteY8" fmla="*/ 25536 h 51710"/>
                    <a:gd name="connsiteX9" fmla="*/ 66935 w 205436"/>
                    <a:gd name="connsiteY9" fmla="*/ 25536 h 51710"/>
                    <a:gd name="connsiteX10" fmla="*/ 11981 w 205436"/>
                    <a:gd name="connsiteY10" fmla="*/ 7661 h 51710"/>
                    <a:gd name="connsiteX11" fmla="*/ 10703 w 205436"/>
                    <a:gd name="connsiteY11" fmla="*/ 3831 h 51710"/>
                    <a:gd name="connsiteX12" fmla="*/ 10703 w 205436"/>
                    <a:gd name="connsiteY12" fmla="*/ 0 h 51710"/>
                    <a:gd name="connsiteX13" fmla="*/ 479 w 205436"/>
                    <a:gd name="connsiteY13" fmla="*/ 3192 h 51710"/>
                    <a:gd name="connsiteX14" fmla="*/ 479 w 205436"/>
                    <a:gd name="connsiteY14" fmla="*/ 19152 h 51710"/>
                    <a:gd name="connsiteX15" fmla="*/ 13259 w 205436"/>
                    <a:gd name="connsiteY15" fmla="*/ 45965 h 51710"/>
                    <a:gd name="connsiteX16" fmla="*/ 102718 w 205436"/>
                    <a:gd name="connsiteY16" fmla="*/ 51710 h 51710"/>
                    <a:gd name="connsiteX17" fmla="*/ 192177 w 205436"/>
                    <a:gd name="connsiteY17" fmla="*/ 45965 h 51710"/>
                    <a:gd name="connsiteX18" fmla="*/ 204957 w 205436"/>
                    <a:gd name="connsiteY18" fmla="*/ 19152 h 51710"/>
                    <a:gd name="connsiteX19" fmla="*/ 204957 w 205436"/>
                    <a:gd name="connsiteY19" fmla="*/ 3192 h 51710"/>
                    <a:gd name="connsiteX20" fmla="*/ 194095 w 205436"/>
                    <a:gd name="connsiteY20" fmla="*/ 0 h 51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436" h="51710">
                      <a:moveTo>
                        <a:pt x="194095" y="0"/>
                      </a:moveTo>
                      <a:lnTo>
                        <a:pt x="194095" y="3831"/>
                      </a:lnTo>
                      <a:cubicBezTo>
                        <a:pt x="194095" y="5107"/>
                        <a:pt x="193456" y="6384"/>
                        <a:pt x="192816" y="7661"/>
                      </a:cubicBezTo>
                      <a:cubicBezTo>
                        <a:pt x="190900" y="10215"/>
                        <a:pt x="180676" y="21706"/>
                        <a:pt x="137863" y="25536"/>
                      </a:cubicBezTo>
                      <a:lnTo>
                        <a:pt x="137224" y="25536"/>
                      </a:lnTo>
                      <a:lnTo>
                        <a:pt x="136585" y="25536"/>
                      </a:lnTo>
                      <a:cubicBezTo>
                        <a:pt x="120610" y="44050"/>
                        <a:pt x="92494" y="46603"/>
                        <a:pt x="73325" y="30643"/>
                      </a:cubicBezTo>
                      <a:cubicBezTo>
                        <a:pt x="71407" y="29367"/>
                        <a:pt x="70130" y="27451"/>
                        <a:pt x="68212" y="25536"/>
                      </a:cubicBezTo>
                      <a:lnTo>
                        <a:pt x="67573" y="25536"/>
                      </a:lnTo>
                      <a:lnTo>
                        <a:pt x="66935" y="25536"/>
                      </a:lnTo>
                      <a:cubicBezTo>
                        <a:pt x="23483" y="21067"/>
                        <a:pt x="13259" y="9576"/>
                        <a:pt x="11981" y="7661"/>
                      </a:cubicBezTo>
                      <a:cubicBezTo>
                        <a:pt x="11342" y="6384"/>
                        <a:pt x="10703" y="5107"/>
                        <a:pt x="10703" y="3831"/>
                      </a:cubicBezTo>
                      <a:lnTo>
                        <a:pt x="10703" y="0"/>
                      </a:lnTo>
                      <a:lnTo>
                        <a:pt x="479" y="3192"/>
                      </a:lnTo>
                      <a:cubicBezTo>
                        <a:pt x="-160" y="8299"/>
                        <a:pt x="-160" y="14045"/>
                        <a:pt x="479" y="19152"/>
                      </a:cubicBezTo>
                      <a:cubicBezTo>
                        <a:pt x="3674" y="28090"/>
                        <a:pt x="8148" y="37027"/>
                        <a:pt x="13259" y="45965"/>
                      </a:cubicBezTo>
                      <a:cubicBezTo>
                        <a:pt x="17093" y="47242"/>
                        <a:pt x="35624" y="51710"/>
                        <a:pt x="102718" y="51710"/>
                      </a:cubicBezTo>
                      <a:cubicBezTo>
                        <a:pt x="169812" y="51710"/>
                        <a:pt x="187705" y="47242"/>
                        <a:pt x="192177" y="45965"/>
                      </a:cubicBezTo>
                      <a:cubicBezTo>
                        <a:pt x="197290" y="37666"/>
                        <a:pt x="201762" y="28728"/>
                        <a:pt x="204957" y="19152"/>
                      </a:cubicBezTo>
                      <a:cubicBezTo>
                        <a:pt x="205596" y="14045"/>
                        <a:pt x="205596" y="8299"/>
                        <a:pt x="204957" y="3192"/>
                      </a:cubicBezTo>
                      <a:lnTo>
                        <a:pt x="194095" y="0"/>
                      </a:lnTo>
                      <a:close/>
                    </a:path>
                  </a:pathLst>
                </a:custGeom>
                <a:grpFill/>
                <a:ln w="6390" cap="flat">
                  <a:noFill/>
                  <a:prstDash val="solid"/>
                  <a:miter/>
                </a:ln>
              </p:spPr>
              <p:txBody>
                <a:bodyPr rtlCol="0" anchor="ctr">
                  <a:noAutofit/>
                </a:bodyPr>
                <a:lstStyle/>
                <a:p>
                  <a:endParaRPr lang="en-US" sz="2000" dirty="0"/>
                </a:p>
              </p:txBody>
            </p:sp>
          </p:grpSp>
          <p:sp>
            <p:nvSpPr>
              <p:cNvPr id="340" name="TextBox 339">
                <a:extLst>
                  <a:ext uri="{FF2B5EF4-FFF2-40B4-BE49-F238E27FC236}">
                    <a16:creationId xmlns:a16="http://schemas.microsoft.com/office/drawing/2014/main" id="{60BFC571-8362-433A-AD94-303EAB3C306B}"/>
                  </a:ext>
                </a:extLst>
              </p:cNvPr>
              <p:cNvSpPr txBox="1"/>
              <p:nvPr/>
            </p:nvSpPr>
            <p:spPr>
              <a:xfrm>
                <a:off x="8203955" y="6193398"/>
                <a:ext cx="526426" cy="123111"/>
              </a:xfrm>
              <a:prstGeom prst="rect">
                <a:avLst/>
              </a:prstGeom>
              <a:noFill/>
            </p:spPr>
            <p:txBody>
              <a:bodyPr wrap="square" lIns="0" tIns="0" rIns="0" bIns="0">
                <a:noAutofit/>
              </a:bodyPr>
              <a:lstStyle/>
              <a:p>
                <a:pPr algn="ctr">
                  <a:buSzPct val="100000"/>
                </a:pPr>
                <a:r>
                  <a:rPr lang="en-NZ" sz="800" dirty="0">
                    <a:solidFill>
                      <a:srgbClr val="313131"/>
                    </a:solidFill>
                  </a:rPr>
                  <a:t>Capex FTEs</a:t>
                </a:r>
              </a:p>
            </p:txBody>
          </p:sp>
          <p:sp>
            <p:nvSpPr>
              <p:cNvPr id="341" name="TextBox 340">
                <a:extLst>
                  <a:ext uri="{FF2B5EF4-FFF2-40B4-BE49-F238E27FC236}">
                    <a16:creationId xmlns:a16="http://schemas.microsoft.com/office/drawing/2014/main" id="{0612E249-BC75-4C66-9DF2-0F04A9B5897F}"/>
                  </a:ext>
                </a:extLst>
              </p:cNvPr>
              <p:cNvSpPr txBox="1"/>
              <p:nvPr/>
            </p:nvSpPr>
            <p:spPr>
              <a:xfrm>
                <a:off x="8794328" y="6193398"/>
                <a:ext cx="526426" cy="123111"/>
              </a:xfrm>
              <a:prstGeom prst="rect">
                <a:avLst/>
              </a:prstGeom>
              <a:noFill/>
            </p:spPr>
            <p:txBody>
              <a:bodyPr wrap="square" lIns="0" tIns="0" rIns="0" bIns="0">
                <a:noAutofit/>
              </a:bodyPr>
              <a:lstStyle/>
              <a:p>
                <a:pPr algn="ctr">
                  <a:buSzPct val="100000"/>
                </a:pPr>
                <a:r>
                  <a:rPr lang="en-NZ" sz="800" dirty="0">
                    <a:solidFill>
                      <a:srgbClr val="313131"/>
                    </a:solidFill>
                  </a:rPr>
                  <a:t>Opex FTEs</a:t>
                </a:r>
              </a:p>
            </p:txBody>
          </p:sp>
        </p:grpSp>
      </p:grpSp>
      <p:sp>
        <p:nvSpPr>
          <p:cNvPr id="381" name="Arrow: Chevron 380">
            <a:extLst>
              <a:ext uri="{FF2B5EF4-FFF2-40B4-BE49-F238E27FC236}">
                <a16:creationId xmlns:a16="http://schemas.microsoft.com/office/drawing/2014/main" id="{6D4DFBAE-72E7-4797-AB5A-FA661811518B}"/>
              </a:ext>
            </a:extLst>
          </p:cNvPr>
          <p:cNvSpPr/>
          <p:nvPr/>
        </p:nvSpPr>
        <p:spPr bwMode="gray">
          <a:xfrm rot="16200000">
            <a:off x="9342437" y="5543344"/>
            <a:ext cx="762755" cy="180000"/>
          </a:xfrm>
          <a:prstGeom prst="chevron">
            <a:avLst>
              <a:gd name="adj" fmla="val 28356"/>
            </a:avLst>
          </a:prstGeom>
          <a:solidFill>
            <a:srgbClr val="0097A9"/>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cxnSp>
        <p:nvCxnSpPr>
          <p:cNvPr id="382" name="Straight Connector 381">
            <a:extLst>
              <a:ext uri="{FF2B5EF4-FFF2-40B4-BE49-F238E27FC236}">
                <a16:creationId xmlns:a16="http://schemas.microsoft.com/office/drawing/2014/main" id="{D3D0AC41-0371-4940-8A37-232FA2E25A22}"/>
              </a:ext>
            </a:extLst>
          </p:cNvPr>
          <p:cNvCxnSpPr>
            <a:cxnSpLocks/>
          </p:cNvCxnSpPr>
          <p:nvPr/>
        </p:nvCxnSpPr>
        <p:spPr>
          <a:xfrm>
            <a:off x="10679566" y="4268361"/>
            <a:ext cx="0" cy="1728000"/>
          </a:xfrm>
          <a:prstGeom prst="line">
            <a:avLst/>
          </a:prstGeom>
          <a:ln w="19050">
            <a:solidFill>
              <a:srgbClr val="7F7F7F"/>
            </a:solidFill>
            <a:prstDash val="sysDot"/>
          </a:ln>
        </p:spPr>
        <p:style>
          <a:lnRef idx="1">
            <a:schemeClr val="accent1"/>
          </a:lnRef>
          <a:fillRef idx="0">
            <a:schemeClr val="accent1"/>
          </a:fillRef>
          <a:effectRef idx="0">
            <a:schemeClr val="accent1"/>
          </a:effectRef>
          <a:fontRef idx="minor">
            <a:schemeClr val="tx1"/>
          </a:fontRef>
        </p:style>
      </p:cxnSp>
      <p:sp>
        <p:nvSpPr>
          <p:cNvPr id="383" name="Text Box 10">
            <a:extLst>
              <a:ext uri="{FF2B5EF4-FFF2-40B4-BE49-F238E27FC236}">
                <a16:creationId xmlns:a16="http://schemas.microsoft.com/office/drawing/2014/main" id="{6CFB714D-E7ED-4A30-96B6-002799E1C652}"/>
              </a:ext>
            </a:extLst>
          </p:cNvPr>
          <p:cNvSpPr txBox="1">
            <a:spLocks noChangeArrowheads="1"/>
          </p:cNvSpPr>
          <p:nvPr/>
        </p:nvSpPr>
        <p:spPr bwMode="auto">
          <a:xfrm flipH="1">
            <a:off x="9972269" y="4393034"/>
            <a:ext cx="484665" cy="323165"/>
          </a:xfrm>
          <a:prstGeom prst="rect">
            <a:avLst/>
          </a:prstGeom>
          <a:noFill/>
          <a:ln w="9525">
            <a:noFill/>
            <a:miter lim="800000"/>
            <a:headEnd/>
            <a:tailEnd/>
          </a:ln>
        </p:spPr>
        <p:txBody>
          <a:bodyPr wrap="square" lIns="45720" tIns="22860" rIns="45720" bIns="22860" anchor="ctr">
            <a:spAutoFit/>
          </a:bodyPr>
          <a:lstStyle/>
          <a:p>
            <a:pPr algn="ctr" defTabSz="1088232"/>
            <a:r>
              <a:rPr lang="en-GB" sz="1200" b="1">
                <a:solidFill>
                  <a:srgbClr val="6FC2B4"/>
                </a:solidFill>
                <a:latin typeface="+mj-lt"/>
                <a:ea typeface="Open Sans Light" pitchFamily="34" charset="0"/>
                <a:cs typeface="Open Sans Light" pitchFamily="34" charset="0"/>
              </a:rPr>
              <a:t>+25%</a:t>
            </a:r>
          </a:p>
          <a:p>
            <a:pPr algn="ctr" defTabSz="1088232"/>
            <a:r>
              <a:rPr lang="en-GB" sz="600" b="1">
                <a:solidFill>
                  <a:srgbClr val="6FC2B4"/>
                </a:solidFill>
                <a:latin typeface="+mj-lt"/>
                <a:ea typeface="Open Sans Light" pitchFamily="34" charset="0"/>
                <a:cs typeface="Open Sans Light" pitchFamily="34" charset="0"/>
              </a:rPr>
              <a:t>more FTEs</a:t>
            </a:r>
            <a:endParaRPr lang="en-GB" sz="600" b="1" dirty="0">
              <a:solidFill>
                <a:srgbClr val="6FC2B4"/>
              </a:solidFill>
              <a:latin typeface="+mj-lt"/>
              <a:ea typeface="Open Sans Light" pitchFamily="34" charset="0"/>
              <a:cs typeface="Open Sans Light" pitchFamily="34" charset="0"/>
            </a:endParaRPr>
          </a:p>
        </p:txBody>
      </p:sp>
      <p:sp>
        <p:nvSpPr>
          <p:cNvPr id="384" name="Text Box 10">
            <a:extLst>
              <a:ext uri="{FF2B5EF4-FFF2-40B4-BE49-F238E27FC236}">
                <a16:creationId xmlns:a16="http://schemas.microsoft.com/office/drawing/2014/main" id="{F19922F9-50BE-4C93-9272-096D1A7F5949}"/>
              </a:ext>
            </a:extLst>
          </p:cNvPr>
          <p:cNvSpPr txBox="1">
            <a:spLocks noChangeArrowheads="1"/>
          </p:cNvSpPr>
          <p:nvPr/>
        </p:nvSpPr>
        <p:spPr bwMode="auto">
          <a:xfrm flipH="1">
            <a:off x="9490592" y="4936782"/>
            <a:ext cx="455599" cy="323165"/>
          </a:xfrm>
          <a:prstGeom prst="rect">
            <a:avLst/>
          </a:prstGeom>
          <a:noFill/>
          <a:ln w="9525">
            <a:noFill/>
            <a:miter lim="800000"/>
            <a:headEnd/>
            <a:tailEnd/>
          </a:ln>
        </p:spPr>
        <p:txBody>
          <a:bodyPr wrap="square" lIns="45720" tIns="22860" rIns="45720" bIns="22860" anchor="ctr">
            <a:spAutoFit/>
          </a:bodyPr>
          <a:lstStyle/>
          <a:p>
            <a:pPr algn="ctr" defTabSz="1088232"/>
            <a:r>
              <a:rPr lang="en-GB" sz="1200" b="1">
                <a:solidFill>
                  <a:srgbClr val="0097A9"/>
                </a:solidFill>
                <a:latin typeface="+mj-lt"/>
                <a:ea typeface="Open Sans Light" pitchFamily="34" charset="0"/>
                <a:cs typeface="Open Sans Light" pitchFamily="34" charset="0"/>
              </a:rPr>
              <a:t>+10%</a:t>
            </a:r>
          </a:p>
          <a:p>
            <a:pPr algn="ctr" defTabSz="1088232"/>
            <a:r>
              <a:rPr lang="en-GB" sz="600" b="1">
                <a:solidFill>
                  <a:srgbClr val="0097A9"/>
                </a:solidFill>
                <a:latin typeface="+mj-lt"/>
                <a:ea typeface="Open Sans Light" pitchFamily="34" charset="0"/>
                <a:cs typeface="Open Sans Light" pitchFamily="34" charset="0"/>
              </a:rPr>
              <a:t>more FTEs</a:t>
            </a:r>
            <a:endParaRPr lang="en-GB" sz="600" b="1" dirty="0">
              <a:solidFill>
                <a:srgbClr val="0097A9"/>
              </a:solidFill>
              <a:latin typeface="+mj-lt"/>
              <a:ea typeface="Open Sans Light" pitchFamily="34" charset="0"/>
              <a:cs typeface="Open Sans Light" pitchFamily="34" charset="0"/>
            </a:endParaRPr>
          </a:p>
        </p:txBody>
      </p:sp>
      <p:sp>
        <p:nvSpPr>
          <p:cNvPr id="385" name="Arrow: Chevron 384">
            <a:extLst>
              <a:ext uri="{FF2B5EF4-FFF2-40B4-BE49-F238E27FC236}">
                <a16:creationId xmlns:a16="http://schemas.microsoft.com/office/drawing/2014/main" id="{7A866264-D6DB-411B-ADFA-876E3056EFFC}"/>
              </a:ext>
            </a:extLst>
          </p:cNvPr>
          <p:cNvSpPr/>
          <p:nvPr/>
        </p:nvSpPr>
        <p:spPr bwMode="gray">
          <a:xfrm rot="16200000">
            <a:off x="9558859" y="5276387"/>
            <a:ext cx="1300377" cy="180000"/>
          </a:xfrm>
          <a:prstGeom prst="chevron">
            <a:avLst>
              <a:gd name="adj" fmla="val 28356"/>
            </a:avLst>
          </a:prstGeom>
          <a:solidFill>
            <a:srgbClr val="6FC2B4"/>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pSp>
        <p:nvGrpSpPr>
          <p:cNvPr id="386" name="Group 385">
            <a:extLst>
              <a:ext uri="{FF2B5EF4-FFF2-40B4-BE49-F238E27FC236}">
                <a16:creationId xmlns:a16="http://schemas.microsoft.com/office/drawing/2014/main" id="{2A4D588C-D529-45F6-B872-0990C6690509}"/>
              </a:ext>
            </a:extLst>
          </p:cNvPr>
          <p:cNvGrpSpPr/>
          <p:nvPr/>
        </p:nvGrpSpPr>
        <p:grpSpPr>
          <a:xfrm>
            <a:off x="9678170" y="4188614"/>
            <a:ext cx="989325" cy="288000"/>
            <a:chOff x="9525502" y="4575415"/>
            <a:chExt cx="989325" cy="288000"/>
          </a:xfrm>
        </p:grpSpPr>
        <p:sp>
          <p:nvSpPr>
            <p:cNvPr id="387" name="Text Box 10">
              <a:extLst>
                <a:ext uri="{FF2B5EF4-FFF2-40B4-BE49-F238E27FC236}">
                  <a16:creationId xmlns:a16="http://schemas.microsoft.com/office/drawing/2014/main" id="{17B822C1-F95F-4AE5-96E4-5563430A05B8}"/>
                </a:ext>
              </a:extLst>
            </p:cNvPr>
            <p:cNvSpPr txBox="1">
              <a:spLocks noChangeArrowheads="1"/>
            </p:cNvSpPr>
            <p:nvPr/>
          </p:nvSpPr>
          <p:spPr bwMode="auto">
            <a:xfrm flipH="1">
              <a:off x="9631636" y="4602777"/>
              <a:ext cx="883191" cy="230832"/>
            </a:xfrm>
            <a:prstGeom prst="rect">
              <a:avLst/>
            </a:prstGeom>
            <a:noFill/>
            <a:ln w="9525">
              <a:noFill/>
              <a:miter lim="800000"/>
              <a:headEnd/>
              <a:tailEnd/>
            </a:ln>
          </p:spPr>
          <p:txBody>
            <a:bodyPr wrap="square" lIns="45720" tIns="22860" rIns="45720" bIns="22860">
              <a:spAutoFit/>
            </a:bodyPr>
            <a:lstStyle/>
            <a:p>
              <a:pPr algn="ctr" defTabSz="1088232"/>
              <a:r>
                <a:rPr lang="en-US" sz="1200" b="1" dirty="0">
                  <a:solidFill>
                    <a:srgbClr val="7F7F7F"/>
                  </a:solidFill>
                  <a:latin typeface="+mj-lt"/>
                  <a:ea typeface="Open Sans Light" pitchFamily="34" charset="0"/>
                  <a:cs typeface="Open Sans Light" pitchFamily="34" charset="0"/>
                </a:rPr>
                <a:t>Capex</a:t>
              </a:r>
              <a:endParaRPr lang="en-US" sz="1000" b="1" dirty="0">
                <a:solidFill>
                  <a:srgbClr val="7F7F7F"/>
                </a:solidFill>
                <a:latin typeface="+mj-lt"/>
                <a:ea typeface="Open Sans Light" pitchFamily="34" charset="0"/>
                <a:cs typeface="Open Sans Light" pitchFamily="34" charset="0"/>
              </a:endParaRPr>
            </a:p>
          </p:txBody>
        </p:sp>
        <p:grpSp>
          <p:nvGrpSpPr>
            <p:cNvPr id="388" name="Graphic 4">
              <a:extLst>
                <a:ext uri="{FF2B5EF4-FFF2-40B4-BE49-F238E27FC236}">
                  <a16:creationId xmlns:a16="http://schemas.microsoft.com/office/drawing/2014/main" id="{F9DF5D26-CE08-4499-9DB9-BBBBA3DF191B}"/>
                </a:ext>
              </a:extLst>
            </p:cNvPr>
            <p:cNvGrpSpPr/>
            <p:nvPr/>
          </p:nvGrpSpPr>
          <p:grpSpPr>
            <a:xfrm>
              <a:off x="9525502" y="4575415"/>
              <a:ext cx="288000" cy="288000"/>
              <a:chOff x="5092779" y="918179"/>
              <a:chExt cx="362309" cy="361971"/>
            </a:xfrm>
            <a:solidFill>
              <a:schemeClr val="bg1">
                <a:lumMod val="50000"/>
              </a:schemeClr>
            </a:solidFill>
          </p:grpSpPr>
          <p:sp>
            <p:nvSpPr>
              <p:cNvPr id="389" name="Graphic 4">
                <a:extLst>
                  <a:ext uri="{FF2B5EF4-FFF2-40B4-BE49-F238E27FC236}">
                    <a16:creationId xmlns:a16="http://schemas.microsoft.com/office/drawing/2014/main" id="{D1C0BE49-0E3F-4587-9688-2FAF54754498}"/>
                  </a:ext>
                </a:extLst>
              </p:cNvPr>
              <p:cNvSpPr/>
              <p:nvPr/>
            </p:nvSpPr>
            <p:spPr>
              <a:xfrm>
                <a:off x="5092779" y="918179"/>
                <a:ext cx="362309" cy="361971"/>
              </a:xfrm>
              <a:custGeom>
                <a:avLst/>
                <a:gdLst>
                  <a:gd name="connsiteX0" fmla="*/ 295854 w 362309"/>
                  <a:gd name="connsiteY0" fmla="*/ 238123 h 361971"/>
                  <a:gd name="connsiteX1" fmla="*/ 281157 w 362309"/>
                  <a:gd name="connsiteY1" fmla="*/ 269404 h 361971"/>
                  <a:gd name="connsiteX2" fmla="*/ 280518 w 362309"/>
                  <a:gd name="connsiteY2" fmla="*/ 270681 h 361971"/>
                  <a:gd name="connsiteX3" fmla="*/ 182113 w 362309"/>
                  <a:gd name="connsiteY3" fmla="*/ 280257 h 361971"/>
                  <a:gd name="connsiteX4" fmla="*/ 83708 w 362309"/>
                  <a:gd name="connsiteY4" fmla="*/ 270681 h 361971"/>
                  <a:gd name="connsiteX5" fmla="*/ 83069 w 362309"/>
                  <a:gd name="connsiteY5" fmla="*/ 269404 h 361971"/>
                  <a:gd name="connsiteX6" fmla="*/ 68372 w 362309"/>
                  <a:gd name="connsiteY6" fmla="*/ 238123 h 361971"/>
                  <a:gd name="connsiteX7" fmla="*/ 68372 w 362309"/>
                  <a:gd name="connsiteY7" fmla="*/ 213225 h 361971"/>
                  <a:gd name="connsiteX8" fmla="*/ 72845 w 362309"/>
                  <a:gd name="connsiteY8" fmla="*/ 208756 h 361971"/>
                  <a:gd name="connsiteX9" fmla="*/ 90737 w 362309"/>
                  <a:gd name="connsiteY9" fmla="*/ 203011 h 361971"/>
                  <a:gd name="connsiteX10" fmla="*/ 90737 w 362309"/>
                  <a:gd name="connsiteY10" fmla="*/ 192796 h 361971"/>
                  <a:gd name="connsiteX11" fmla="*/ 121409 w 362309"/>
                  <a:gd name="connsiteY11" fmla="*/ 118104 h 361971"/>
                  <a:gd name="connsiteX12" fmla="*/ 121409 w 362309"/>
                  <a:gd name="connsiteY12" fmla="*/ 112996 h 361971"/>
                  <a:gd name="connsiteX13" fmla="*/ 124604 w 362309"/>
                  <a:gd name="connsiteY13" fmla="*/ 107251 h 361971"/>
                  <a:gd name="connsiteX14" fmla="*/ 132911 w 362309"/>
                  <a:gd name="connsiteY14" fmla="*/ 102782 h 361971"/>
                  <a:gd name="connsiteX15" fmla="*/ 160387 w 362309"/>
                  <a:gd name="connsiteY15" fmla="*/ 91929 h 361971"/>
                  <a:gd name="connsiteX16" fmla="*/ 160387 w 362309"/>
                  <a:gd name="connsiteY16" fmla="*/ 88099 h 361971"/>
                  <a:gd name="connsiteX17" fmla="*/ 166777 w 362309"/>
                  <a:gd name="connsiteY17" fmla="*/ 81715 h 361971"/>
                  <a:gd name="connsiteX18" fmla="*/ 197449 w 362309"/>
                  <a:gd name="connsiteY18" fmla="*/ 81715 h 361971"/>
                  <a:gd name="connsiteX19" fmla="*/ 203839 w 362309"/>
                  <a:gd name="connsiteY19" fmla="*/ 88099 h 361971"/>
                  <a:gd name="connsiteX20" fmla="*/ 203839 w 362309"/>
                  <a:gd name="connsiteY20" fmla="*/ 91291 h 361971"/>
                  <a:gd name="connsiteX21" fmla="*/ 230677 w 362309"/>
                  <a:gd name="connsiteY21" fmla="*/ 102144 h 361971"/>
                  <a:gd name="connsiteX22" fmla="*/ 238984 w 362309"/>
                  <a:gd name="connsiteY22" fmla="*/ 106612 h 361971"/>
                  <a:gd name="connsiteX23" fmla="*/ 242179 w 362309"/>
                  <a:gd name="connsiteY23" fmla="*/ 112358 h 361971"/>
                  <a:gd name="connsiteX24" fmla="*/ 242179 w 362309"/>
                  <a:gd name="connsiteY24" fmla="*/ 117465 h 361971"/>
                  <a:gd name="connsiteX25" fmla="*/ 273489 w 362309"/>
                  <a:gd name="connsiteY25" fmla="*/ 192158 h 361971"/>
                  <a:gd name="connsiteX26" fmla="*/ 273489 w 362309"/>
                  <a:gd name="connsiteY26" fmla="*/ 202372 h 361971"/>
                  <a:gd name="connsiteX27" fmla="*/ 291381 w 362309"/>
                  <a:gd name="connsiteY27" fmla="*/ 208118 h 361971"/>
                  <a:gd name="connsiteX28" fmla="*/ 295854 w 362309"/>
                  <a:gd name="connsiteY28" fmla="*/ 212587 h 361971"/>
                  <a:gd name="connsiteX29" fmla="*/ 295854 w 362309"/>
                  <a:gd name="connsiteY29" fmla="*/ 238123 h 361971"/>
                  <a:gd name="connsiteX30" fmla="*/ 181474 w 362309"/>
                  <a:gd name="connsiteY30" fmla="*/ 0 h 361971"/>
                  <a:gd name="connsiteX31" fmla="*/ 0 w 362309"/>
                  <a:gd name="connsiteY31" fmla="*/ 180667 h 361971"/>
                  <a:gd name="connsiteX32" fmla="*/ 180835 w 362309"/>
                  <a:gd name="connsiteY32" fmla="*/ 361972 h 361971"/>
                  <a:gd name="connsiteX33" fmla="*/ 362310 w 362309"/>
                  <a:gd name="connsiteY33" fmla="*/ 181305 h 361971"/>
                  <a:gd name="connsiteX34" fmla="*/ 362310 w 362309"/>
                  <a:gd name="connsiteY34" fmla="*/ 181305 h 361971"/>
                  <a:gd name="connsiteX35" fmla="*/ 181474 w 362309"/>
                  <a:gd name="connsiteY35" fmla="*/ 0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62309" h="361971">
                    <a:moveTo>
                      <a:pt x="295854" y="238123"/>
                    </a:moveTo>
                    <a:cubicBezTo>
                      <a:pt x="292020" y="248975"/>
                      <a:pt x="286908" y="259828"/>
                      <a:pt x="281157" y="269404"/>
                    </a:cubicBezTo>
                    <a:cubicBezTo>
                      <a:pt x="281157" y="270042"/>
                      <a:pt x="280518" y="270042"/>
                      <a:pt x="280518" y="270681"/>
                    </a:cubicBezTo>
                    <a:cubicBezTo>
                      <a:pt x="272850" y="278980"/>
                      <a:pt x="215341" y="280257"/>
                      <a:pt x="182113" y="280257"/>
                    </a:cubicBezTo>
                    <a:cubicBezTo>
                      <a:pt x="148885" y="280257"/>
                      <a:pt x="91376" y="278980"/>
                      <a:pt x="83708" y="270681"/>
                    </a:cubicBezTo>
                    <a:cubicBezTo>
                      <a:pt x="83069" y="270042"/>
                      <a:pt x="83069" y="270042"/>
                      <a:pt x="83069" y="269404"/>
                    </a:cubicBezTo>
                    <a:cubicBezTo>
                      <a:pt x="77318" y="259190"/>
                      <a:pt x="72206" y="248975"/>
                      <a:pt x="68372" y="238123"/>
                    </a:cubicBezTo>
                    <a:cubicBezTo>
                      <a:pt x="66456" y="229823"/>
                      <a:pt x="66456" y="221524"/>
                      <a:pt x="68372" y="213225"/>
                    </a:cubicBezTo>
                    <a:cubicBezTo>
                      <a:pt x="69011" y="211310"/>
                      <a:pt x="70289" y="209395"/>
                      <a:pt x="72845" y="208756"/>
                    </a:cubicBezTo>
                    <a:lnTo>
                      <a:pt x="90737" y="203011"/>
                    </a:lnTo>
                    <a:lnTo>
                      <a:pt x="90737" y="192796"/>
                    </a:lnTo>
                    <a:cubicBezTo>
                      <a:pt x="91376" y="164707"/>
                      <a:pt x="102878" y="138532"/>
                      <a:pt x="121409" y="118104"/>
                    </a:cubicBezTo>
                    <a:lnTo>
                      <a:pt x="121409" y="112996"/>
                    </a:lnTo>
                    <a:cubicBezTo>
                      <a:pt x="121409" y="110443"/>
                      <a:pt x="122687" y="108528"/>
                      <a:pt x="124604" y="107251"/>
                    </a:cubicBezTo>
                    <a:lnTo>
                      <a:pt x="132911" y="102782"/>
                    </a:lnTo>
                    <a:cubicBezTo>
                      <a:pt x="141857" y="97675"/>
                      <a:pt x="150802" y="93845"/>
                      <a:pt x="160387" y="91929"/>
                    </a:cubicBezTo>
                    <a:lnTo>
                      <a:pt x="160387" y="88099"/>
                    </a:lnTo>
                    <a:cubicBezTo>
                      <a:pt x="160387" y="84269"/>
                      <a:pt x="162943" y="81715"/>
                      <a:pt x="166777" y="81715"/>
                    </a:cubicBezTo>
                    <a:lnTo>
                      <a:pt x="197449" y="81715"/>
                    </a:lnTo>
                    <a:cubicBezTo>
                      <a:pt x="201283" y="81715"/>
                      <a:pt x="203839" y="84269"/>
                      <a:pt x="203839" y="88099"/>
                    </a:cubicBezTo>
                    <a:lnTo>
                      <a:pt x="203839" y="91291"/>
                    </a:lnTo>
                    <a:cubicBezTo>
                      <a:pt x="213424" y="93845"/>
                      <a:pt x="222370" y="97037"/>
                      <a:pt x="230677" y="102144"/>
                    </a:cubicBezTo>
                    <a:cubicBezTo>
                      <a:pt x="233233" y="103420"/>
                      <a:pt x="235789" y="104697"/>
                      <a:pt x="238984" y="106612"/>
                    </a:cubicBezTo>
                    <a:cubicBezTo>
                      <a:pt x="240901" y="107889"/>
                      <a:pt x="242179" y="109804"/>
                      <a:pt x="242179" y="112358"/>
                    </a:cubicBezTo>
                    <a:lnTo>
                      <a:pt x="242179" y="117465"/>
                    </a:lnTo>
                    <a:cubicBezTo>
                      <a:pt x="261349" y="137894"/>
                      <a:pt x="272211" y="164707"/>
                      <a:pt x="273489" y="192158"/>
                    </a:cubicBezTo>
                    <a:lnTo>
                      <a:pt x="273489" y="202372"/>
                    </a:lnTo>
                    <a:lnTo>
                      <a:pt x="291381" y="208118"/>
                    </a:lnTo>
                    <a:cubicBezTo>
                      <a:pt x="293298" y="208756"/>
                      <a:pt x="295215" y="210671"/>
                      <a:pt x="295854" y="212587"/>
                    </a:cubicBezTo>
                    <a:cubicBezTo>
                      <a:pt x="297132" y="221524"/>
                      <a:pt x="297132" y="229823"/>
                      <a:pt x="295854" y="238123"/>
                    </a:cubicBezTo>
                    <a:moveTo>
                      <a:pt x="181474" y="0"/>
                    </a:moveTo>
                    <a:cubicBezTo>
                      <a:pt x="81152" y="0"/>
                      <a:pt x="0" y="81077"/>
                      <a:pt x="0" y="180667"/>
                    </a:cubicBezTo>
                    <a:cubicBezTo>
                      <a:pt x="0" y="280257"/>
                      <a:pt x="81152" y="361972"/>
                      <a:pt x="180835" y="361972"/>
                    </a:cubicBezTo>
                    <a:cubicBezTo>
                      <a:pt x="280518" y="361972"/>
                      <a:pt x="362310" y="280895"/>
                      <a:pt x="362310" y="181305"/>
                    </a:cubicBezTo>
                    <a:cubicBezTo>
                      <a:pt x="362310" y="181305"/>
                      <a:pt x="362310" y="181305"/>
                      <a:pt x="362310" y="181305"/>
                    </a:cubicBezTo>
                    <a:cubicBezTo>
                      <a:pt x="362310" y="81077"/>
                      <a:pt x="281796" y="0"/>
                      <a:pt x="181474" y="0"/>
                    </a:cubicBezTo>
                  </a:path>
                </a:pathLst>
              </a:custGeom>
              <a:grpFill/>
              <a:ln w="6390" cap="flat">
                <a:noFill/>
                <a:prstDash val="solid"/>
                <a:miter/>
              </a:ln>
            </p:spPr>
            <p:txBody>
              <a:bodyPr rtlCol="0" anchor="ctr"/>
              <a:lstStyle/>
              <a:p>
                <a:endParaRPr lang="en-US" dirty="0"/>
              </a:p>
            </p:txBody>
          </p:sp>
          <p:sp>
            <p:nvSpPr>
              <p:cNvPr id="390" name="Graphic 4">
                <a:extLst>
                  <a:ext uri="{FF2B5EF4-FFF2-40B4-BE49-F238E27FC236}">
                    <a16:creationId xmlns:a16="http://schemas.microsoft.com/office/drawing/2014/main" id="{C558C45E-C115-4BF3-9758-51029E241FA5}"/>
                  </a:ext>
                </a:extLst>
              </p:cNvPr>
              <p:cNvSpPr/>
              <p:nvPr/>
            </p:nvSpPr>
            <p:spPr>
              <a:xfrm>
                <a:off x="5241665" y="1098187"/>
                <a:ext cx="64558" cy="64498"/>
              </a:xfrm>
              <a:custGeom>
                <a:avLst/>
                <a:gdLst>
                  <a:gd name="connsiteX0" fmla="*/ 32589 w 64558"/>
                  <a:gd name="connsiteY0" fmla="*/ 10234 h 64498"/>
                  <a:gd name="connsiteX1" fmla="*/ 54314 w 64558"/>
                  <a:gd name="connsiteY1" fmla="*/ 31940 h 64498"/>
                  <a:gd name="connsiteX2" fmla="*/ 32589 w 64558"/>
                  <a:gd name="connsiteY2" fmla="*/ 53646 h 64498"/>
                  <a:gd name="connsiteX3" fmla="*/ 10863 w 64558"/>
                  <a:gd name="connsiteY3" fmla="*/ 31940 h 64498"/>
                  <a:gd name="connsiteX4" fmla="*/ 10863 w 64558"/>
                  <a:gd name="connsiteY4" fmla="*/ 31940 h 64498"/>
                  <a:gd name="connsiteX5" fmla="*/ 32589 w 64558"/>
                  <a:gd name="connsiteY5" fmla="*/ 10234 h 64498"/>
                  <a:gd name="connsiteX6" fmla="*/ 32589 w 64558"/>
                  <a:gd name="connsiteY6" fmla="*/ 10234 h 64498"/>
                  <a:gd name="connsiteX7" fmla="*/ 32589 w 64558"/>
                  <a:gd name="connsiteY7" fmla="*/ 64498 h 64498"/>
                  <a:gd name="connsiteX8" fmla="*/ 64539 w 64558"/>
                  <a:gd name="connsiteY8" fmla="*/ 31940 h 64498"/>
                  <a:gd name="connsiteX9" fmla="*/ 31950 w 64558"/>
                  <a:gd name="connsiteY9" fmla="*/ 20 h 64498"/>
                  <a:gd name="connsiteX10" fmla="*/ 0 w 64558"/>
                  <a:gd name="connsiteY10" fmla="*/ 32578 h 64498"/>
                  <a:gd name="connsiteX11" fmla="*/ 32589 w 64558"/>
                  <a:gd name="connsiteY11" fmla="*/ 64498 h 64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4558" h="64498">
                    <a:moveTo>
                      <a:pt x="32589" y="10234"/>
                    </a:moveTo>
                    <a:cubicBezTo>
                      <a:pt x="44730" y="10234"/>
                      <a:pt x="54314" y="19810"/>
                      <a:pt x="54314" y="31940"/>
                    </a:cubicBezTo>
                    <a:cubicBezTo>
                      <a:pt x="54314" y="44070"/>
                      <a:pt x="44730" y="53646"/>
                      <a:pt x="32589" y="53646"/>
                    </a:cubicBezTo>
                    <a:cubicBezTo>
                      <a:pt x="20448" y="53646"/>
                      <a:pt x="10863" y="44070"/>
                      <a:pt x="10863" y="31940"/>
                    </a:cubicBezTo>
                    <a:cubicBezTo>
                      <a:pt x="10863" y="31940"/>
                      <a:pt x="10863" y="31940"/>
                      <a:pt x="10863" y="31940"/>
                    </a:cubicBezTo>
                    <a:cubicBezTo>
                      <a:pt x="10863" y="19810"/>
                      <a:pt x="20448" y="10234"/>
                      <a:pt x="32589" y="10234"/>
                    </a:cubicBezTo>
                    <a:cubicBezTo>
                      <a:pt x="32589" y="10234"/>
                      <a:pt x="32589" y="10234"/>
                      <a:pt x="32589" y="10234"/>
                    </a:cubicBezTo>
                    <a:moveTo>
                      <a:pt x="32589" y="64498"/>
                    </a:moveTo>
                    <a:cubicBezTo>
                      <a:pt x="50481" y="64498"/>
                      <a:pt x="65177" y="49815"/>
                      <a:pt x="64539" y="31940"/>
                    </a:cubicBezTo>
                    <a:cubicBezTo>
                      <a:pt x="64539" y="14065"/>
                      <a:pt x="49841" y="-618"/>
                      <a:pt x="31950" y="20"/>
                    </a:cubicBezTo>
                    <a:cubicBezTo>
                      <a:pt x="14058" y="20"/>
                      <a:pt x="0" y="14703"/>
                      <a:pt x="0" y="32578"/>
                    </a:cubicBezTo>
                    <a:cubicBezTo>
                      <a:pt x="0" y="49815"/>
                      <a:pt x="14697" y="64498"/>
                      <a:pt x="32589" y="64498"/>
                    </a:cubicBezTo>
                  </a:path>
                </a:pathLst>
              </a:custGeom>
              <a:grpFill/>
              <a:ln w="6390" cap="flat">
                <a:noFill/>
                <a:prstDash val="solid"/>
                <a:miter/>
              </a:ln>
            </p:spPr>
            <p:txBody>
              <a:bodyPr rtlCol="0" anchor="ctr"/>
              <a:lstStyle/>
              <a:p>
                <a:endParaRPr lang="en-US" dirty="0"/>
              </a:p>
            </p:txBody>
          </p:sp>
          <p:sp>
            <p:nvSpPr>
              <p:cNvPr id="391" name="Graphic 4">
                <a:extLst>
                  <a:ext uri="{FF2B5EF4-FFF2-40B4-BE49-F238E27FC236}">
                    <a16:creationId xmlns:a16="http://schemas.microsoft.com/office/drawing/2014/main" id="{3B19CF1A-77CA-4B38-9FE2-987D8894D813}"/>
                  </a:ext>
                </a:extLst>
              </p:cNvPr>
              <p:cNvSpPr/>
              <p:nvPr/>
            </p:nvSpPr>
            <p:spPr>
              <a:xfrm>
                <a:off x="5265308" y="1121189"/>
                <a:ext cx="17891" cy="17875"/>
              </a:xfrm>
              <a:custGeom>
                <a:avLst/>
                <a:gdLst>
                  <a:gd name="connsiteX0" fmla="*/ 8946 w 17891"/>
                  <a:gd name="connsiteY0" fmla="*/ 17875 h 17875"/>
                  <a:gd name="connsiteX1" fmla="*/ 17892 w 17891"/>
                  <a:gd name="connsiteY1" fmla="*/ 8938 h 17875"/>
                  <a:gd name="connsiteX2" fmla="*/ 8946 w 17891"/>
                  <a:gd name="connsiteY2" fmla="*/ 0 h 17875"/>
                  <a:gd name="connsiteX3" fmla="*/ 0 w 17891"/>
                  <a:gd name="connsiteY3" fmla="*/ 8938 h 17875"/>
                  <a:gd name="connsiteX4" fmla="*/ 0 w 17891"/>
                  <a:gd name="connsiteY4" fmla="*/ 8938 h 17875"/>
                  <a:gd name="connsiteX5" fmla="*/ 8946 w 17891"/>
                  <a:gd name="connsiteY5" fmla="*/ 17875 h 17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891" h="17875">
                    <a:moveTo>
                      <a:pt x="8946" y="17875"/>
                    </a:moveTo>
                    <a:cubicBezTo>
                      <a:pt x="14058" y="17875"/>
                      <a:pt x="17892" y="14045"/>
                      <a:pt x="17892" y="8938"/>
                    </a:cubicBezTo>
                    <a:cubicBezTo>
                      <a:pt x="17892" y="3830"/>
                      <a:pt x="14058" y="0"/>
                      <a:pt x="8946" y="0"/>
                    </a:cubicBezTo>
                    <a:cubicBezTo>
                      <a:pt x="3834" y="0"/>
                      <a:pt x="0" y="3830"/>
                      <a:pt x="0" y="8938"/>
                    </a:cubicBezTo>
                    <a:lnTo>
                      <a:pt x="0" y="8938"/>
                    </a:lnTo>
                    <a:cubicBezTo>
                      <a:pt x="0" y="14045"/>
                      <a:pt x="3834" y="17875"/>
                      <a:pt x="8946" y="17875"/>
                    </a:cubicBezTo>
                  </a:path>
                </a:pathLst>
              </a:custGeom>
              <a:grpFill/>
              <a:ln w="6390" cap="flat">
                <a:noFill/>
                <a:prstDash val="solid"/>
                <a:miter/>
              </a:ln>
            </p:spPr>
            <p:txBody>
              <a:bodyPr rtlCol="0" anchor="ctr"/>
              <a:lstStyle/>
              <a:p>
                <a:endParaRPr lang="en-US" dirty="0"/>
              </a:p>
            </p:txBody>
          </p:sp>
          <p:sp>
            <p:nvSpPr>
              <p:cNvPr id="392" name="Graphic 4">
                <a:extLst>
                  <a:ext uri="{FF2B5EF4-FFF2-40B4-BE49-F238E27FC236}">
                    <a16:creationId xmlns:a16="http://schemas.microsoft.com/office/drawing/2014/main" id="{A75BB95C-2A33-4DBE-B134-C8D6BC1C1048}"/>
                  </a:ext>
                </a:extLst>
              </p:cNvPr>
              <p:cNvSpPr/>
              <p:nvPr/>
            </p:nvSpPr>
            <p:spPr>
              <a:xfrm>
                <a:off x="5195657" y="1012662"/>
                <a:ext cx="156553" cy="133425"/>
              </a:xfrm>
              <a:custGeom>
                <a:avLst/>
                <a:gdLst>
                  <a:gd name="connsiteX0" fmla="*/ 33228 w 156553"/>
                  <a:gd name="connsiteY0" fmla="*/ 117465 h 133425"/>
                  <a:gd name="connsiteX1" fmla="*/ 79874 w 156553"/>
                  <a:gd name="connsiteY1" fmla="*/ 74054 h 133425"/>
                  <a:gd name="connsiteX2" fmla="*/ 123326 w 156553"/>
                  <a:gd name="connsiteY2" fmla="*/ 117465 h 133425"/>
                  <a:gd name="connsiteX3" fmla="*/ 120131 w 156553"/>
                  <a:gd name="connsiteY3" fmla="*/ 133425 h 133425"/>
                  <a:gd name="connsiteX4" fmla="*/ 156553 w 156553"/>
                  <a:gd name="connsiteY4" fmla="*/ 122572 h 133425"/>
                  <a:gd name="connsiteX5" fmla="*/ 156553 w 156553"/>
                  <a:gd name="connsiteY5" fmla="*/ 97675 h 133425"/>
                  <a:gd name="connsiteX6" fmla="*/ 138023 w 156553"/>
                  <a:gd name="connsiteY6" fmla="*/ 43411 h 133425"/>
                  <a:gd name="connsiteX7" fmla="*/ 138023 w 156553"/>
                  <a:gd name="connsiteY7" fmla="*/ 90014 h 133425"/>
                  <a:gd name="connsiteX8" fmla="*/ 131633 w 156553"/>
                  <a:gd name="connsiteY8" fmla="*/ 96398 h 133425"/>
                  <a:gd name="connsiteX9" fmla="*/ 125243 w 156553"/>
                  <a:gd name="connsiteY9" fmla="*/ 90014 h 133425"/>
                  <a:gd name="connsiteX10" fmla="*/ 125243 w 156553"/>
                  <a:gd name="connsiteY10" fmla="*/ 21706 h 133425"/>
                  <a:gd name="connsiteX11" fmla="*/ 120770 w 156553"/>
                  <a:gd name="connsiteY11" fmla="*/ 19152 h 133425"/>
                  <a:gd name="connsiteX12" fmla="*/ 99683 w 156553"/>
                  <a:gd name="connsiteY12" fmla="*/ 10214 h 133425"/>
                  <a:gd name="connsiteX13" fmla="*/ 99683 w 156553"/>
                  <a:gd name="connsiteY13" fmla="*/ 44049 h 133425"/>
                  <a:gd name="connsiteX14" fmla="*/ 104795 w 156553"/>
                  <a:gd name="connsiteY14" fmla="*/ 52349 h 133425"/>
                  <a:gd name="connsiteX15" fmla="*/ 102878 w 156553"/>
                  <a:gd name="connsiteY15" fmla="*/ 61286 h 133425"/>
                  <a:gd name="connsiteX16" fmla="*/ 102878 w 156553"/>
                  <a:gd name="connsiteY16" fmla="*/ 61286 h 133425"/>
                  <a:gd name="connsiteX17" fmla="*/ 93932 w 156553"/>
                  <a:gd name="connsiteY17" fmla="*/ 59371 h 133425"/>
                  <a:gd name="connsiteX18" fmla="*/ 87542 w 156553"/>
                  <a:gd name="connsiteY18" fmla="*/ 49157 h 133425"/>
                  <a:gd name="connsiteX19" fmla="*/ 86264 w 156553"/>
                  <a:gd name="connsiteY19" fmla="*/ 45965 h 133425"/>
                  <a:gd name="connsiteX20" fmla="*/ 86264 w 156553"/>
                  <a:gd name="connsiteY20" fmla="*/ 0 h 133425"/>
                  <a:gd name="connsiteX21" fmla="*/ 69650 w 156553"/>
                  <a:gd name="connsiteY21" fmla="*/ 0 h 133425"/>
                  <a:gd name="connsiteX22" fmla="*/ 69650 w 156553"/>
                  <a:gd name="connsiteY22" fmla="*/ 1277 h 133425"/>
                  <a:gd name="connsiteX23" fmla="*/ 69650 w 156553"/>
                  <a:gd name="connsiteY23" fmla="*/ 1915 h 133425"/>
                  <a:gd name="connsiteX24" fmla="*/ 69650 w 156553"/>
                  <a:gd name="connsiteY24" fmla="*/ 2554 h 133425"/>
                  <a:gd name="connsiteX25" fmla="*/ 69650 w 156553"/>
                  <a:gd name="connsiteY25" fmla="*/ 45965 h 133425"/>
                  <a:gd name="connsiteX26" fmla="*/ 68372 w 156553"/>
                  <a:gd name="connsiteY26" fmla="*/ 49157 h 133425"/>
                  <a:gd name="connsiteX27" fmla="*/ 61982 w 156553"/>
                  <a:gd name="connsiteY27" fmla="*/ 59371 h 133425"/>
                  <a:gd name="connsiteX28" fmla="*/ 53037 w 156553"/>
                  <a:gd name="connsiteY28" fmla="*/ 61286 h 133425"/>
                  <a:gd name="connsiteX29" fmla="*/ 51119 w 156553"/>
                  <a:gd name="connsiteY29" fmla="*/ 52349 h 133425"/>
                  <a:gd name="connsiteX30" fmla="*/ 56232 w 156553"/>
                  <a:gd name="connsiteY30" fmla="*/ 44049 h 133425"/>
                  <a:gd name="connsiteX31" fmla="*/ 56232 w 156553"/>
                  <a:gd name="connsiteY31" fmla="*/ 10214 h 133425"/>
                  <a:gd name="connsiteX32" fmla="*/ 35145 w 156553"/>
                  <a:gd name="connsiteY32" fmla="*/ 19152 h 133425"/>
                  <a:gd name="connsiteX33" fmla="*/ 30672 w 156553"/>
                  <a:gd name="connsiteY33" fmla="*/ 21706 h 133425"/>
                  <a:gd name="connsiteX34" fmla="*/ 30672 w 156553"/>
                  <a:gd name="connsiteY34" fmla="*/ 90014 h 133425"/>
                  <a:gd name="connsiteX35" fmla="*/ 24282 w 156553"/>
                  <a:gd name="connsiteY35" fmla="*/ 96398 h 133425"/>
                  <a:gd name="connsiteX36" fmla="*/ 17892 w 156553"/>
                  <a:gd name="connsiteY36" fmla="*/ 90014 h 133425"/>
                  <a:gd name="connsiteX37" fmla="*/ 17892 w 156553"/>
                  <a:gd name="connsiteY37" fmla="*/ 43411 h 133425"/>
                  <a:gd name="connsiteX38" fmla="*/ 0 w 156553"/>
                  <a:gd name="connsiteY38" fmla="*/ 97675 h 133425"/>
                  <a:gd name="connsiteX39" fmla="*/ 0 w 156553"/>
                  <a:gd name="connsiteY39" fmla="*/ 122572 h 133425"/>
                  <a:gd name="connsiteX40" fmla="*/ 36423 w 156553"/>
                  <a:gd name="connsiteY40" fmla="*/ 133425 h 133425"/>
                  <a:gd name="connsiteX41" fmla="*/ 33228 w 156553"/>
                  <a:gd name="connsiteY41" fmla="*/ 117465 h 133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56553" h="133425">
                    <a:moveTo>
                      <a:pt x="33228" y="117465"/>
                    </a:moveTo>
                    <a:cubicBezTo>
                      <a:pt x="33867" y="92568"/>
                      <a:pt x="54954" y="73416"/>
                      <a:pt x="79874" y="74054"/>
                    </a:cubicBezTo>
                    <a:cubicBezTo>
                      <a:pt x="103517" y="74693"/>
                      <a:pt x="122687" y="93845"/>
                      <a:pt x="123326" y="117465"/>
                    </a:cubicBezTo>
                    <a:cubicBezTo>
                      <a:pt x="123326" y="123211"/>
                      <a:pt x="122048" y="128318"/>
                      <a:pt x="120131" y="133425"/>
                    </a:cubicBezTo>
                    <a:cubicBezTo>
                      <a:pt x="143774" y="130233"/>
                      <a:pt x="153358" y="124488"/>
                      <a:pt x="156553" y="122572"/>
                    </a:cubicBezTo>
                    <a:lnTo>
                      <a:pt x="156553" y="97675"/>
                    </a:lnTo>
                    <a:cubicBezTo>
                      <a:pt x="155915" y="77885"/>
                      <a:pt x="149525" y="59371"/>
                      <a:pt x="138023" y="43411"/>
                    </a:cubicBezTo>
                    <a:lnTo>
                      <a:pt x="138023" y="90014"/>
                    </a:lnTo>
                    <a:cubicBezTo>
                      <a:pt x="138023" y="93845"/>
                      <a:pt x="135467" y="96398"/>
                      <a:pt x="131633" y="96398"/>
                    </a:cubicBezTo>
                    <a:cubicBezTo>
                      <a:pt x="127799" y="96398"/>
                      <a:pt x="125243" y="93845"/>
                      <a:pt x="125243" y="90014"/>
                    </a:cubicBezTo>
                    <a:lnTo>
                      <a:pt x="125243" y="21706"/>
                    </a:lnTo>
                    <a:lnTo>
                      <a:pt x="120770" y="19152"/>
                    </a:lnTo>
                    <a:cubicBezTo>
                      <a:pt x="114380" y="15322"/>
                      <a:pt x="106712" y="12130"/>
                      <a:pt x="99683" y="10214"/>
                    </a:cubicBezTo>
                    <a:lnTo>
                      <a:pt x="99683" y="44049"/>
                    </a:lnTo>
                    <a:lnTo>
                      <a:pt x="104795" y="52349"/>
                    </a:lnTo>
                    <a:cubicBezTo>
                      <a:pt x="106712" y="55541"/>
                      <a:pt x="106073" y="59371"/>
                      <a:pt x="102878" y="61286"/>
                    </a:cubicBezTo>
                    <a:cubicBezTo>
                      <a:pt x="102878" y="61286"/>
                      <a:pt x="102878" y="61286"/>
                      <a:pt x="102878" y="61286"/>
                    </a:cubicBezTo>
                    <a:cubicBezTo>
                      <a:pt x="99683" y="63201"/>
                      <a:pt x="95849" y="61925"/>
                      <a:pt x="93932" y="59371"/>
                    </a:cubicBezTo>
                    <a:lnTo>
                      <a:pt x="87542" y="49157"/>
                    </a:lnTo>
                    <a:cubicBezTo>
                      <a:pt x="86903" y="47880"/>
                      <a:pt x="86264" y="47241"/>
                      <a:pt x="86264" y="45965"/>
                    </a:cubicBezTo>
                    <a:lnTo>
                      <a:pt x="86264" y="0"/>
                    </a:lnTo>
                    <a:lnTo>
                      <a:pt x="69650" y="0"/>
                    </a:lnTo>
                    <a:lnTo>
                      <a:pt x="69650" y="1277"/>
                    </a:lnTo>
                    <a:cubicBezTo>
                      <a:pt x="69650" y="1277"/>
                      <a:pt x="69650" y="1915"/>
                      <a:pt x="69650" y="1915"/>
                    </a:cubicBezTo>
                    <a:cubicBezTo>
                      <a:pt x="69650" y="1915"/>
                      <a:pt x="69650" y="1915"/>
                      <a:pt x="69650" y="2554"/>
                    </a:cubicBezTo>
                    <a:lnTo>
                      <a:pt x="69650" y="45965"/>
                    </a:lnTo>
                    <a:cubicBezTo>
                      <a:pt x="69650" y="47241"/>
                      <a:pt x="69012" y="48518"/>
                      <a:pt x="68372" y="49157"/>
                    </a:cubicBezTo>
                    <a:lnTo>
                      <a:pt x="61982" y="59371"/>
                    </a:lnTo>
                    <a:cubicBezTo>
                      <a:pt x="60066" y="62563"/>
                      <a:pt x="56232" y="63201"/>
                      <a:pt x="53037" y="61286"/>
                    </a:cubicBezTo>
                    <a:cubicBezTo>
                      <a:pt x="49842" y="59371"/>
                      <a:pt x="49203" y="55541"/>
                      <a:pt x="51119" y="52349"/>
                    </a:cubicBezTo>
                    <a:lnTo>
                      <a:pt x="56232" y="44049"/>
                    </a:lnTo>
                    <a:lnTo>
                      <a:pt x="56232" y="10214"/>
                    </a:lnTo>
                    <a:cubicBezTo>
                      <a:pt x="48564" y="12130"/>
                      <a:pt x="41535" y="15322"/>
                      <a:pt x="35145" y="19152"/>
                    </a:cubicBezTo>
                    <a:lnTo>
                      <a:pt x="30672" y="21706"/>
                    </a:lnTo>
                    <a:lnTo>
                      <a:pt x="30672" y="90014"/>
                    </a:lnTo>
                    <a:cubicBezTo>
                      <a:pt x="30672" y="93845"/>
                      <a:pt x="28116" y="96398"/>
                      <a:pt x="24282" y="96398"/>
                    </a:cubicBezTo>
                    <a:cubicBezTo>
                      <a:pt x="20448" y="96398"/>
                      <a:pt x="17892" y="93845"/>
                      <a:pt x="17892" y="90014"/>
                    </a:cubicBezTo>
                    <a:lnTo>
                      <a:pt x="17892" y="43411"/>
                    </a:lnTo>
                    <a:cubicBezTo>
                      <a:pt x="6390" y="59371"/>
                      <a:pt x="0" y="78523"/>
                      <a:pt x="0" y="97675"/>
                    </a:cubicBezTo>
                    <a:lnTo>
                      <a:pt x="0" y="122572"/>
                    </a:lnTo>
                    <a:cubicBezTo>
                      <a:pt x="3195" y="124488"/>
                      <a:pt x="12780" y="130233"/>
                      <a:pt x="36423" y="133425"/>
                    </a:cubicBezTo>
                    <a:cubicBezTo>
                      <a:pt x="34506" y="128318"/>
                      <a:pt x="33228" y="122572"/>
                      <a:pt x="33228" y="117465"/>
                    </a:cubicBezTo>
                  </a:path>
                </a:pathLst>
              </a:custGeom>
              <a:grpFill/>
              <a:ln w="6390" cap="flat">
                <a:noFill/>
                <a:prstDash val="solid"/>
                <a:miter/>
              </a:ln>
            </p:spPr>
            <p:txBody>
              <a:bodyPr rtlCol="0" anchor="ctr"/>
              <a:lstStyle/>
              <a:p>
                <a:endParaRPr lang="en-US" dirty="0"/>
              </a:p>
            </p:txBody>
          </p:sp>
          <p:sp>
            <p:nvSpPr>
              <p:cNvPr id="393" name="Graphic 4">
                <a:extLst>
                  <a:ext uri="{FF2B5EF4-FFF2-40B4-BE49-F238E27FC236}">
                    <a16:creationId xmlns:a16="http://schemas.microsoft.com/office/drawing/2014/main" id="{E01AC89D-9A97-4D36-B5F1-DF1783346B89}"/>
                  </a:ext>
                </a:extLst>
              </p:cNvPr>
              <p:cNvSpPr/>
              <p:nvPr/>
            </p:nvSpPr>
            <p:spPr>
              <a:xfrm>
                <a:off x="5172174" y="1133957"/>
                <a:ext cx="205436" cy="51071"/>
              </a:xfrm>
              <a:custGeom>
                <a:avLst/>
                <a:gdLst>
                  <a:gd name="connsiteX0" fmla="*/ 193455 w 205436"/>
                  <a:gd name="connsiteY0" fmla="*/ 0 h 51071"/>
                  <a:gd name="connsiteX1" fmla="*/ 193455 w 205436"/>
                  <a:gd name="connsiteY1" fmla="*/ 3830 h 51071"/>
                  <a:gd name="connsiteX2" fmla="*/ 192177 w 205436"/>
                  <a:gd name="connsiteY2" fmla="*/ 7661 h 51071"/>
                  <a:gd name="connsiteX3" fmla="*/ 137224 w 205436"/>
                  <a:gd name="connsiteY3" fmla="*/ 25536 h 51071"/>
                  <a:gd name="connsiteX4" fmla="*/ 136585 w 205436"/>
                  <a:gd name="connsiteY4" fmla="*/ 25536 h 51071"/>
                  <a:gd name="connsiteX5" fmla="*/ 135946 w 205436"/>
                  <a:gd name="connsiteY5" fmla="*/ 25536 h 51071"/>
                  <a:gd name="connsiteX6" fmla="*/ 72685 w 205436"/>
                  <a:gd name="connsiteY6" fmla="*/ 30643 h 51071"/>
                  <a:gd name="connsiteX7" fmla="*/ 67573 w 205436"/>
                  <a:gd name="connsiteY7" fmla="*/ 25536 h 51071"/>
                  <a:gd name="connsiteX8" fmla="*/ 67573 w 205436"/>
                  <a:gd name="connsiteY8" fmla="*/ 25536 h 51071"/>
                  <a:gd name="connsiteX9" fmla="*/ 66935 w 205436"/>
                  <a:gd name="connsiteY9" fmla="*/ 25536 h 51071"/>
                  <a:gd name="connsiteX10" fmla="*/ 11981 w 205436"/>
                  <a:gd name="connsiteY10" fmla="*/ 7661 h 51071"/>
                  <a:gd name="connsiteX11" fmla="*/ 10703 w 205436"/>
                  <a:gd name="connsiteY11" fmla="*/ 3830 h 51071"/>
                  <a:gd name="connsiteX12" fmla="*/ 10703 w 205436"/>
                  <a:gd name="connsiteY12" fmla="*/ 0 h 51071"/>
                  <a:gd name="connsiteX13" fmla="*/ 479 w 205436"/>
                  <a:gd name="connsiteY13" fmla="*/ 3192 h 51071"/>
                  <a:gd name="connsiteX14" fmla="*/ 479 w 205436"/>
                  <a:gd name="connsiteY14" fmla="*/ 19152 h 51071"/>
                  <a:gd name="connsiteX15" fmla="*/ 13259 w 205436"/>
                  <a:gd name="connsiteY15" fmla="*/ 45326 h 51071"/>
                  <a:gd name="connsiteX16" fmla="*/ 102718 w 205436"/>
                  <a:gd name="connsiteY16" fmla="*/ 51072 h 51071"/>
                  <a:gd name="connsiteX17" fmla="*/ 192177 w 205436"/>
                  <a:gd name="connsiteY17" fmla="*/ 45326 h 51071"/>
                  <a:gd name="connsiteX18" fmla="*/ 204957 w 205436"/>
                  <a:gd name="connsiteY18" fmla="*/ 19152 h 51071"/>
                  <a:gd name="connsiteX19" fmla="*/ 204957 w 205436"/>
                  <a:gd name="connsiteY19" fmla="*/ 3192 h 51071"/>
                  <a:gd name="connsiteX20" fmla="*/ 193455 w 205436"/>
                  <a:gd name="connsiteY20" fmla="*/ 0 h 51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05436" h="51071">
                    <a:moveTo>
                      <a:pt x="193455" y="0"/>
                    </a:moveTo>
                    <a:lnTo>
                      <a:pt x="193455" y="3830"/>
                    </a:lnTo>
                    <a:cubicBezTo>
                      <a:pt x="193455" y="5107"/>
                      <a:pt x="192816" y="6384"/>
                      <a:pt x="192177" y="7661"/>
                    </a:cubicBezTo>
                    <a:cubicBezTo>
                      <a:pt x="190899" y="10214"/>
                      <a:pt x="180675" y="21706"/>
                      <a:pt x="137224" y="25536"/>
                    </a:cubicBezTo>
                    <a:lnTo>
                      <a:pt x="136585" y="25536"/>
                    </a:lnTo>
                    <a:lnTo>
                      <a:pt x="135946" y="25536"/>
                    </a:lnTo>
                    <a:cubicBezTo>
                      <a:pt x="119971" y="44049"/>
                      <a:pt x="91855" y="46603"/>
                      <a:pt x="72685" y="30643"/>
                    </a:cubicBezTo>
                    <a:cubicBezTo>
                      <a:pt x="70768" y="29366"/>
                      <a:pt x="68852" y="27451"/>
                      <a:pt x="67573" y="25536"/>
                    </a:cubicBezTo>
                    <a:lnTo>
                      <a:pt x="67573" y="25536"/>
                    </a:lnTo>
                    <a:lnTo>
                      <a:pt x="66935" y="25536"/>
                    </a:lnTo>
                    <a:cubicBezTo>
                      <a:pt x="23483" y="21067"/>
                      <a:pt x="13259" y="9576"/>
                      <a:pt x="11981" y="7661"/>
                    </a:cubicBezTo>
                    <a:cubicBezTo>
                      <a:pt x="11342" y="6384"/>
                      <a:pt x="10703" y="5107"/>
                      <a:pt x="10703" y="3830"/>
                    </a:cubicBezTo>
                    <a:lnTo>
                      <a:pt x="10703" y="0"/>
                    </a:lnTo>
                    <a:lnTo>
                      <a:pt x="479" y="3192"/>
                    </a:lnTo>
                    <a:cubicBezTo>
                      <a:pt x="-160" y="8299"/>
                      <a:pt x="-160" y="14045"/>
                      <a:pt x="479" y="19152"/>
                    </a:cubicBezTo>
                    <a:cubicBezTo>
                      <a:pt x="3674" y="28089"/>
                      <a:pt x="8147" y="37027"/>
                      <a:pt x="13259" y="45326"/>
                    </a:cubicBezTo>
                    <a:cubicBezTo>
                      <a:pt x="17093" y="46603"/>
                      <a:pt x="35624" y="51072"/>
                      <a:pt x="102718" y="51072"/>
                    </a:cubicBezTo>
                    <a:cubicBezTo>
                      <a:pt x="169812" y="51072"/>
                      <a:pt x="187704" y="46603"/>
                      <a:pt x="192177" y="45326"/>
                    </a:cubicBezTo>
                    <a:cubicBezTo>
                      <a:pt x="197289" y="37027"/>
                      <a:pt x="201762" y="28089"/>
                      <a:pt x="204957" y="19152"/>
                    </a:cubicBezTo>
                    <a:cubicBezTo>
                      <a:pt x="205596" y="14045"/>
                      <a:pt x="205596" y="8299"/>
                      <a:pt x="204957" y="3192"/>
                    </a:cubicBezTo>
                    <a:lnTo>
                      <a:pt x="193455" y="0"/>
                    </a:lnTo>
                    <a:close/>
                  </a:path>
                </a:pathLst>
              </a:custGeom>
              <a:grpFill/>
              <a:ln w="6390" cap="flat">
                <a:noFill/>
                <a:prstDash val="solid"/>
                <a:miter/>
              </a:ln>
            </p:spPr>
            <p:txBody>
              <a:bodyPr rtlCol="0" anchor="ctr"/>
              <a:lstStyle/>
              <a:p>
                <a:endParaRPr lang="en-US" dirty="0"/>
              </a:p>
            </p:txBody>
          </p:sp>
        </p:grpSp>
      </p:grpSp>
      <p:grpSp>
        <p:nvGrpSpPr>
          <p:cNvPr id="394" name="Group 393">
            <a:extLst>
              <a:ext uri="{FF2B5EF4-FFF2-40B4-BE49-F238E27FC236}">
                <a16:creationId xmlns:a16="http://schemas.microsoft.com/office/drawing/2014/main" id="{C2EA6A9A-4A50-427D-9730-62788BEEDAF7}"/>
              </a:ext>
            </a:extLst>
          </p:cNvPr>
          <p:cNvGrpSpPr/>
          <p:nvPr/>
        </p:nvGrpSpPr>
        <p:grpSpPr>
          <a:xfrm>
            <a:off x="10969593" y="4188614"/>
            <a:ext cx="917102" cy="288000"/>
            <a:chOff x="10805919" y="4575415"/>
            <a:chExt cx="917102" cy="288000"/>
          </a:xfrm>
        </p:grpSpPr>
        <p:sp>
          <p:nvSpPr>
            <p:cNvPr id="395" name="Text Box 10">
              <a:extLst>
                <a:ext uri="{FF2B5EF4-FFF2-40B4-BE49-F238E27FC236}">
                  <a16:creationId xmlns:a16="http://schemas.microsoft.com/office/drawing/2014/main" id="{8F106941-BBAD-465F-9FE1-E7978061D123}"/>
                </a:ext>
              </a:extLst>
            </p:cNvPr>
            <p:cNvSpPr txBox="1">
              <a:spLocks noChangeArrowheads="1"/>
            </p:cNvSpPr>
            <p:nvPr/>
          </p:nvSpPr>
          <p:spPr bwMode="auto">
            <a:xfrm flipH="1">
              <a:off x="10928640" y="4608142"/>
              <a:ext cx="794381" cy="230832"/>
            </a:xfrm>
            <a:prstGeom prst="rect">
              <a:avLst/>
            </a:prstGeom>
            <a:noFill/>
            <a:ln w="9525">
              <a:noFill/>
              <a:miter lim="800000"/>
              <a:headEnd/>
              <a:tailEnd/>
            </a:ln>
          </p:spPr>
          <p:txBody>
            <a:bodyPr wrap="square" lIns="45720" tIns="22860" rIns="45720" bIns="22860">
              <a:spAutoFit/>
            </a:bodyPr>
            <a:lstStyle/>
            <a:p>
              <a:pPr algn="ctr" defTabSz="1088232"/>
              <a:r>
                <a:rPr lang="en-US" sz="1200" b="1" dirty="0">
                  <a:solidFill>
                    <a:srgbClr val="7F7F7F"/>
                  </a:solidFill>
                  <a:latin typeface="+mj-lt"/>
                  <a:ea typeface="Open Sans Light" pitchFamily="34" charset="0"/>
                  <a:cs typeface="Open Sans Light" pitchFamily="34" charset="0"/>
                </a:rPr>
                <a:t>Opex</a:t>
              </a:r>
              <a:endParaRPr lang="en-US" sz="1000" b="1" dirty="0">
                <a:solidFill>
                  <a:srgbClr val="7F7F7F"/>
                </a:solidFill>
                <a:latin typeface="+mj-lt"/>
                <a:ea typeface="Open Sans Light" pitchFamily="34" charset="0"/>
                <a:cs typeface="Open Sans Light" pitchFamily="34" charset="0"/>
              </a:endParaRPr>
            </a:p>
          </p:txBody>
        </p:sp>
        <p:grpSp>
          <p:nvGrpSpPr>
            <p:cNvPr id="396" name="Graphic 4">
              <a:extLst>
                <a:ext uri="{FF2B5EF4-FFF2-40B4-BE49-F238E27FC236}">
                  <a16:creationId xmlns:a16="http://schemas.microsoft.com/office/drawing/2014/main" id="{ABDEE672-0E14-451F-9E7B-9FFD7F4C1522}"/>
                </a:ext>
              </a:extLst>
            </p:cNvPr>
            <p:cNvGrpSpPr/>
            <p:nvPr/>
          </p:nvGrpSpPr>
          <p:grpSpPr>
            <a:xfrm>
              <a:off x="10805919" y="4575415"/>
              <a:ext cx="288000" cy="288000"/>
              <a:chOff x="5099169" y="2371173"/>
              <a:chExt cx="362309" cy="361971"/>
            </a:xfrm>
            <a:solidFill>
              <a:schemeClr val="bg1">
                <a:lumMod val="50000"/>
              </a:schemeClr>
            </a:solidFill>
          </p:grpSpPr>
          <p:sp>
            <p:nvSpPr>
              <p:cNvPr id="397" name="Graphic 4">
                <a:extLst>
                  <a:ext uri="{FF2B5EF4-FFF2-40B4-BE49-F238E27FC236}">
                    <a16:creationId xmlns:a16="http://schemas.microsoft.com/office/drawing/2014/main" id="{D9BF51FC-8745-4240-BFD0-285E2BF52F80}"/>
                  </a:ext>
                </a:extLst>
              </p:cNvPr>
              <p:cNvSpPr/>
              <p:nvPr/>
            </p:nvSpPr>
            <p:spPr>
              <a:xfrm>
                <a:off x="5197574" y="2471402"/>
                <a:ext cx="164381" cy="164866"/>
              </a:xfrm>
              <a:custGeom>
                <a:avLst/>
                <a:gdLst>
                  <a:gd name="connsiteX0" fmla="*/ 90098 w 164381"/>
                  <a:gd name="connsiteY0" fmla="*/ 83630 h 164866"/>
                  <a:gd name="connsiteX1" fmla="*/ 90098 w 164381"/>
                  <a:gd name="connsiteY1" fmla="*/ 83630 h 164866"/>
                  <a:gd name="connsiteX2" fmla="*/ 61343 w 164381"/>
                  <a:gd name="connsiteY2" fmla="*/ 54264 h 164866"/>
                  <a:gd name="connsiteX3" fmla="*/ 58787 w 164381"/>
                  <a:gd name="connsiteY3" fmla="*/ 41496 h 164866"/>
                  <a:gd name="connsiteX4" fmla="*/ 51758 w 164381"/>
                  <a:gd name="connsiteY4" fmla="*/ 7022 h 164866"/>
                  <a:gd name="connsiteX5" fmla="*/ 40257 w 164381"/>
                  <a:gd name="connsiteY5" fmla="*/ 0 h 164866"/>
                  <a:gd name="connsiteX6" fmla="*/ 47285 w 164381"/>
                  <a:gd name="connsiteY6" fmla="*/ 19152 h 164866"/>
                  <a:gd name="connsiteX7" fmla="*/ 18531 w 164381"/>
                  <a:gd name="connsiteY7" fmla="*/ 47880 h 164866"/>
                  <a:gd name="connsiteX8" fmla="*/ 0 w 164381"/>
                  <a:gd name="connsiteY8" fmla="*/ 40857 h 164866"/>
                  <a:gd name="connsiteX9" fmla="*/ 6390 w 164381"/>
                  <a:gd name="connsiteY9" fmla="*/ 51710 h 164866"/>
                  <a:gd name="connsiteX10" fmla="*/ 40895 w 164381"/>
                  <a:gd name="connsiteY10" fmla="*/ 60009 h 164866"/>
                  <a:gd name="connsiteX11" fmla="*/ 46646 w 164381"/>
                  <a:gd name="connsiteY11" fmla="*/ 58733 h 164866"/>
                  <a:gd name="connsiteX12" fmla="*/ 54953 w 164381"/>
                  <a:gd name="connsiteY12" fmla="*/ 62563 h 164866"/>
                  <a:gd name="connsiteX13" fmla="*/ 155914 w 164381"/>
                  <a:gd name="connsiteY13" fmla="*/ 163430 h 164866"/>
                  <a:gd name="connsiteX14" fmla="*/ 162943 w 164381"/>
                  <a:gd name="connsiteY14" fmla="*/ 163430 h 164866"/>
                  <a:gd name="connsiteX15" fmla="*/ 162943 w 164381"/>
                  <a:gd name="connsiteY15" fmla="*/ 156408 h 164866"/>
                  <a:gd name="connsiteX16" fmla="*/ 162943 w 164381"/>
                  <a:gd name="connsiteY16" fmla="*/ 156408 h 164866"/>
                  <a:gd name="connsiteX17" fmla="*/ 90098 w 164381"/>
                  <a:gd name="connsiteY17" fmla="*/ 83630 h 164866"/>
                  <a:gd name="connsiteX18" fmla="*/ 90098 w 164381"/>
                  <a:gd name="connsiteY18" fmla="*/ 83630 h 164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4381" h="164866">
                    <a:moveTo>
                      <a:pt x="90098" y="83630"/>
                    </a:moveTo>
                    <a:lnTo>
                      <a:pt x="90098" y="83630"/>
                    </a:lnTo>
                    <a:lnTo>
                      <a:pt x="61343" y="54264"/>
                    </a:lnTo>
                    <a:cubicBezTo>
                      <a:pt x="58148" y="51072"/>
                      <a:pt x="56870" y="45965"/>
                      <a:pt x="58787" y="41496"/>
                    </a:cubicBezTo>
                    <a:cubicBezTo>
                      <a:pt x="63899" y="29366"/>
                      <a:pt x="60704" y="15960"/>
                      <a:pt x="51758" y="7022"/>
                    </a:cubicBezTo>
                    <a:cubicBezTo>
                      <a:pt x="48563" y="3830"/>
                      <a:pt x="44730" y="1277"/>
                      <a:pt x="40257" y="0"/>
                    </a:cubicBezTo>
                    <a:cubicBezTo>
                      <a:pt x="44730" y="5107"/>
                      <a:pt x="47285" y="12130"/>
                      <a:pt x="47285" y="19152"/>
                    </a:cubicBezTo>
                    <a:cubicBezTo>
                      <a:pt x="47285" y="35112"/>
                      <a:pt x="34505" y="47880"/>
                      <a:pt x="18531" y="47880"/>
                    </a:cubicBezTo>
                    <a:cubicBezTo>
                      <a:pt x="11502" y="47880"/>
                      <a:pt x="5112" y="45326"/>
                      <a:pt x="0" y="40857"/>
                    </a:cubicBezTo>
                    <a:cubicBezTo>
                      <a:pt x="1278" y="44688"/>
                      <a:pt x="3834" y="48518"/>
                      <a:pt x="6390" y="51710"/>
                    </a:cubicBezTo>
                    <a:cubicBezTo>
                      <a:pt x="15336" y="60648"/>
                      <a:pt x="28755" y="63840"/>
                      <a:pt x="40895" y="60009"/>
                    </a:cubicBezTo>
                    <a:cubicBezTo>
                      <a:pt x="42812" y="58733"/>
                      <a:pt x="44730" y="58733"/>
                      <a:pt x="46646" y="58733"/>
                    </a:cubicBezTo>
                    <a:cubicBezTo>
                      <a:pt x="49841" y="58733"/>
                      <a:pt x="53036" y="60009"/>
                      <a:pt x="54953" y="62563"/>
                    </a:cubicBezTo>
                    <a:lnTo>
                      <a:pt x="155914" y="163430"/>
                    </a:lnTo>
                    <a:cubicBezTo>
                      <a:pt x="157831" y="165345"/>
                      <a:pt x="161026" y="165345"/>
                      <a:pt x="162943" y="163430"/>
                    </a:cubicBezTo>
                    <a:cubicBezTo>
                      <a:pt x="164860" y="161515"/>
                      <a:pt x="164860" y="158323"/>
                      <a:pt x="162943" y="156408"/>
                    </a:cubicBezTo>
                    <a:cubicBezTo>
                      <a:pt x="162943" y="156408"/>
                      <a:pt x="162943" y="156408"/>
                      <a:pt x="162943" y="156408"/>
                    </a:cubicBezTo>
                    <a:lnTo>
                      <a:pt x="90098" y="83630"/>
                    </a:lnTo>
                    <a:lnTo>
                      <a:pt x="90098" y="83630"/>
                    </a:lnTo>
                    <a:close/>
                  </a:path>
                </a:pathLst>
              </a:custGeom>
              <a:grpFill/>
              <a:ln w="6390" cap="flat">
                <a:noFill/>
                <a:prstDash val="solid"/>
                <a:miter/>
              </a:ln>
            </p:spPr>
            <p:txBody>
              <a:bodyPr rtlCol="0" anchor="ctr"/>
              <a:lstStyle/>
              <a:p>
                <a:endParaRPr lang="en-US" sz="2000" dirty="0">
                  <a:solidFill>
                    <a:srgbClr val="7F7F7F"/>
                  </a:solidFill>
                </a:endParaRPr>
              </a:p>
            </p:txBody>
          </p:sp>
          <p:sp>
            <p:nvSpPr>
              <p:cNvPr id="398" name="Graphic 4">
                <a:extLst>
                  <a:ext uri="{FF2B5EF4-FFF2-40B4-BE49-F238E27FC236}">
                    <a16:creationId xmlns:a16="http://schemas.microsoft.com/office/drawing/2014/main" id="{7EE35495-E8B0-408D-99D1-8C87B4163FE2}"/>
                  </a:ext>
                </a:extLst>
              </p:cNvPr>
              <p:cNvSpPr/>
              <p:nvPr/>
            </p:nvSpPr>
            <p:spPr>
              <a:xfrm>
                <a:off x="5194380" y="2559501"/>
                <a:ext cx="72845" cy="72164"/>
              </a:xfrm>
              <a:custGeom>
                <a:avLst/>
                <a:gdLst>
                  <a:gd name="connsiteX0" fmla="*/ 1917 w 72845"/>
                  <a:gd name="connsiteY0" fmla="*/ 62563 h 72164"/>
                  <a:gd name="connsiteX1" fmla="*/ 0 w 72845"/>
                  <a:gd name="connsiteY1" fmla="*/ 66394 h 72164"/>
                  <a:gd name="connsiteX2" fmla="*/ 1917 w 72845"/>
                  <a:gd name="connsiteY2" fmla="*/ 70224 h 72164"/>
                  <a:gd name="connsiteX3" fmla="*/ 8946 w 72845"/>
                  <a:gd name="connsiteY3" fmla="*/ 71501 h 72164"/>
                  <a:gd name="connsiteX4" fmla="*/ 9585 w 72845"/>
                  <a:gd name="connsiteY4" fmla="*/ 70862 h 72164"/>
                  <a:gd name="connsiteX5" fmla="*/ 72845 w 72845"/>
                  <a:gd name="connsiteY5" fmla="*/ 7661 h 72164"/>
                  <a:gd name="connsiteX6" fmla="*/ 65177 w 72845"/>
                  <a:gd name="connsiteY6" fmla="*/ 0 h 72164"/>
                  <a:gd name="connsiteX7" fmla="*/ 1917 w 72845"/>
                  <a:gd name="connsiteY7" fmla="*/ 62563 h 72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2845" h="72164">
                    <a:moveTo>
                      <a:pt x="1917" y="62563"/>
                    </a:moveTo>
                    <a:cubicBezTo>
                      <a:pt x="639" y="63840"/>
                      <a:pt x="0" y="65117"/>
                      <a:pt x="0" y="66394"/>
                    </a:cubicBezTo>
                    <a:cubicBezTo>
                      <a:pt x="0" y="67670"/>
                      <a:pt x="639" y="68947"/>
                      <a:pt x="1917" y="70224"/>
                    </a:cubicBezTo>
                    <a:cubicBezTo>
                      <a:pt x="3834" y="72139"/>
                      <a:pt x="6390" y="72778"/>
                      <a:pt x="8946" y="71501"/>
                    </a:cubicBezTo>
                    <a:cubicBezTo>
                      <a:pt x="8946" y="71501"/>
                      <a:pt x="9585" y="70862"/>
                      <a:pt x="9585" y="70862"/>
                    </a:cubicBezTo>
                    <a:lnTo>
                      <a:pt x="72845" y="7661"/>
                    </a:lnTo>
                    <a:lnTo>
                      <a:pt x="65177" y="0"/>
                    </a:lnTo>
                    <a:lnTo>
                      <a:pt x="1917" y="62563"/>
                    </a:lnTo>
                    <a:close/>
                  </a:path>
                </a:pathLst>
              </a:custGeom>
              <a:grpFill/>
              <a:ln w="6390" cap="flat">
                <a:noFill/>
                <a:prstDash val="solid"/>
                <a:miter/>
              </a:ln>
            </p:spPr>
            <p:txBody>
              <a:bodyPr rtlCol="0" anchor="ctr"/>
              <a:lstStyle/>
              <a:p>
                <a:endParaRPr lang="en-US" sz="2000" dirty="0">
                  <a:solidFill>
                    <a:srgbClr val="7F7F7F"/>
                  </a:solidFill>
                </a:endParaRPr>
              </a:p>
            </p:txBody>
          </p:sp>
          <p:sp>
            <p:nvSpPr>
              <p:cNvPr id="399" name="Graphic 4">
                <a:extLst>
                  <a:ext uri="{FF2B5EF4-FFF2-40B4-BE49-F238E27FC236}">
                    <a16:creationId xmlns:a16="http://schemas.microsoft.com/office/drawing/2014/main" id="{117AE909-AB58-43CA-8004-67FB3659B4C8}"/>
                  </a:ext>
                </a:extLst>
              </p:cNvPr>
              <p:cNvSpPr/>
              <p:nvPr/>
            </p:nvSpPr>
            <p:spPr>
              <a:xfrm>
                <a:off x="5284477" y="2477786"/>
                <a:ext cx="78596" cy="63201"/>
              </a:xfrm>
              <a:custGeom>
                <a:avLst/>
                <a:gdLst>
                  <a:gd name="connsiteX0" fmla="*/ 19809 w 78596"/>
                  <a:gd name="connsiteY0" fmla="*/ 0 h 63201"/>
                  <a:gd name="connsiteX1" fmla="*/ 33228 w 78596"/>
                  <a:gd name="connsiteY1" fmla="*/ 13406 h 63201"/>
                  <a:gd name="connsiteX2" fmla="*/ 33228 w 78596"/>
                  <a:gd name="connsiteY2" fmla="*/ 22344 h 63201"/>
                  <a:gd name="connsiteX3" fmla="*/ 0 w 78596"/>
                  <a:gd name="connsiteY3" fmla="*/ 55541 h 63201"/>
                  <a:gd name="connsiteX4" fmla="*/ 7668 w 78596"/>
                  <a:gd name="connsiteY4" fmla="*/ 63201 h 63201"/>
                  <a:gd name="connsiteX5" fmla="*/ 40896 w 78596"/>
                  <a:gd name="connsiteY5" fmla="*/ 30005 h 63201"/>
                  <a:gd name="connsiteX6" fmla="*/ 49841 w 78596"/>
                  <a:gd name="connsiteY6" fmla="*/ 30005 h 63201"/>
                  <a:gd name="connsiteX7" fmla="*/ 68372 w 78596"/>
                  <a:gd name="connsiteY7" fmla="*/ 48518 h 63201"/>
                  <a:gd name="connsiteX8" fmla="*/ 78596 w 78596"/>
                  <a:gd name="connsiteY8" fmla="*/ 38304 h 63201"/>
                  <a:gd name="connsiteX9" fmla="*/ 46646 w 78596"/>
                  <a:gd name="connsiteY9" fmla="*/ 6384 h 63201"/>
                  <a:gd name="connsiteX10" fmla="*/ 19809 w 78596"/>
                  <a:gd name="connsiteY10" fmla="*/ 0 h 63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8596" h="63201">
                    <a:moveTo>
                      <a:pt x="19809" y="0"/>
                    </a:moveTo>
                    <a:lnTo>
                      <a:pt x="33228" y="13406"/>
                    </a:lnTo>
                    <a:cubicBezTo>
                      <a:pt x="35783" y="15960"/>
                      <a:pt x="35783" y="19790"/>
                      <a:pt x="33228" y="22344"/>
                    </a:cubicBezTo>
                    <a:lnTo>
                      <a:pt x="0" y="55541"/>
                    </a:lnTo>
                    <a:lnTo>
                      <a:pt x="7668" y="63201"/>
                    </a:lnTo>
                    <a:lnTo>
                      <a:pt x="40896" y="30005"/>
                    </a:lnTo>
                    <a:cubicBezTo>
                      <a:pt x="43451" y="27451"/>
                      <a:pt x="47286" y="27451"/>
                      <a:pt x="49841" y="30005"/>
                    </a:cubicBezTo>
                    <a:lnTo>
                      <a:pt x="68372" y="48518"/>
                    </a:lnTo>
                    <a:lnTo>
                      <a:pt x="78596" y="38304"/>
                    </a:lnTo>
                    <a:lnTo>
                      <a:pt x="46646" y="6384"/>
                    </a:lnTo>
                    <a:lnTo>
                      <a:pt x="19809" y="0"/>
                    </a:lnTo>
                    <a:close/>
                  </a:path>
                </a:pathLst>
              </a:custGeom>
              <a:grpFill/>
              <a:ln w="6390" cap="flat">
                <a:noFill/>
                <a:prstDash val="solid"/>
                <a:miter/>
              </a:ln>
            </p:spPr>
            <p:txBody>
              <a:bodyPr rtlCol="0" anchor="ctr"/>
              <a:lstStyle/>
              <a:p>
                <a:endParaRPr lang="en-US" sz="2000" dirty="0">
                  <a:solidFill>
                    <a:srgbClr val="7F7F7F"/>
                  </a:solidFill>
                </a:endParaRPr>
              </a:p>
            </p:txBody>
          </p:sp>
          <p:sp>
            <p:nvSpPr>
              <p:cNvPr id="400" name="Graphic 4">
                <a:extLst>
                  <a:ext uri="{FF2B5EF4-FFF2-40B4-BE49-F238E27FC236}">
                    <a16:creationId xmlns:a16="http://schemas.microsoft.com/office/drawing/2014/main" id="{BFAF3939-796E-45CF-8042-CC440C69ACE3}"/>
                  </a:ext>
                </a:extLst>
              </p:cNvPr>
              <p:cNvSpPr/>
              <p:nvPr/>
            </p:nvSpPr>
            <p:spPr>
              <a:xfrm>
                <a:off x="5099169" y="2371173"/>
                <a:ext cx="362309" cy="361971"/>
              </a:xfrm>
              <a:custGeom>
                <a:avLst/>
                <a:gdLst>
                  <a:gd name="connsiteX0" fmla="*/ 181474 w 362309"/>
                  <a:gd name="connsiteY0" fmla="*/ 0 h 361971"/>
                  <a:gd name="connsiteX1" fmla="*/ 0 w 362309"/>
                  <a:gd name="connsiteY1" fmla="*/ 180667 h 361971"/>
                  <a:gd name="connsiteX2" fmla="*/ 180835 w 362309"/>
                  <a:gd name="connsiteY2" fmla="*/ 361972 h 361971"/>
                  <a:gd name="connsiteX3" fmla="*/ 362310 w 362309"/>
                  <a:gd name="connsiteY3" fmla="*/ 181305 h 361971"/>
                  <a:gd name="connsiteX4" fmla="*/ 362310 w 362309"/>
                  <a:gd name="connsiteY4" fmla="*/ 181305 h 361971"/>
                  <a:gd name="connsiteX5" fmla="*/ 181474 w 362309"/>
                  <a:gd name="connsiteY5" fmla="*/ 0 h 361971"/>
                  <a:gd name="connsiteX6" fmla="*/ 181474 w 362309"/>
                  <a:gd name="connsiteY6" fmla="*/ 0 h 361971"/>
                  <a:gd name="connsiteX7" fmla="*/ 277962 w 362309"/>
                  <a:gd name="connsiteY7" fmla="*/ 149385 h 361971"/>
                  <a:gd name="connsiteX8" fmla="*/ 258792 w 362309"/>
                  <a:gd name="connsiteY8" fmla="*/ 168537 h 361971"/>
                  <a:gd name="connsiteX9" fmla="*/ 249846 w 362309"/>
                  <a:gd name="connsiteY9" fmla="*/ 168537 h 361971"/>
                  <a:gd name="connsiteX10" fmla="*/ 249846 w 362309"/>
                  <a:gd name="connsiteY10" fmla="*/ 168537 h 361971"/>
                  <a:gd name="connsiteX11" fmla="*/ 231316 w 362309"/>
                  <a:gd name="connsiteY11" fmla="*/ 150024 h 361971"/>
                  <a:gd name="connsiteX12" fmla="*/ 202561 w 362309"/>
                  <a:gd name="connsiteY12" fmla="*/ 178752 h 361971"/>
                  <a:gd name="connsiteX13" fmla="*/ 269655 w 362309"/>
                  <a:gd name="connsiteY13" fmla="*/ 246422 h 361971"/>
                  <a:gd name="connsiteX14" fmla="*/ 269655 w 362309"/>
                  <a:gd name="connsiteY14" fmla="*/ 271319 h 361971"/>
                  <a:gd name="connsiteX15" fmla="*/ 269655 w 362309"/>
                  <a:gd name="connsiteY15" fmla="*/ 271319 h 361971"/>
                  <a:gd name="connsiteX16" fmla="*/ 269655 w 362309"/>
                  <a:gd name="connsiteY16" fmla="*/ 271319 h 361971"/>
                  <a:gd name="connsiteX17" fmla="*/ 256876 w 362309"/>
                  <a:gd name="connsiteY17" fmla="*/ 276427 h 361971"/>
                  <a:gd name="connsiteX18" fmla="*/ 244735 w 362309"/>
                  <a:gd name="connsiteY18" fmla="*/ 271319 h 361971"/>
                  <a:gd name="connsiteX19" fmla="*/ 177640 w 362309"/>
                  <a:gd name="connsiteY19" fmla="*/ 204287 h 361971"/>
                  <a:gd name="connsiteX20" fmla="*/ 114380 w 362309"/>
                  <a:gd name="connsiteY20" fmla="*/ 267489 h 361971"/>
                  <a:gd name="connsiteX21" fmla="*/ 102239 w 362309"/>
                  <a:gd name="connsiteY21" fmla="*/ 272596 h 361971"/>
                  <a:gd name="connsiteX22" fmla="*/ 88820 w 362309"/>
                  <a:gd name="connsiteY22" fmla="*/ 266851 h 361971"/>
                  <a:gd name="connsiteX23" fmla="*/ 83069 w 362309"/>
                  <a:gd name="connsiteY23" fmla="*/ 254083 h 361971"/>
                  <a:gd name="connsiteX24" fmla="*/ 88820 w 362309"/>
                  <a:gd name="connsiteY24" fmla="*/ 241315 h 361971"/>
                  <a:gd name="connsiteX25" fmla="*/ 152080 w 362309"/>
                  <a:gd name="connsiteY25" fmla="*/ 178113 h 361971"/>
                  <a:gd name="connsiteX26" fmla="*/ 144412 w 362309"/>
                  <a:gd name="connsiteY26" fmla="*/ 170452 h 361971"/>
                  <a:gd name="connsiteX27" fmla="*/ 86264 w 362309"/>
                  <a:gd name="connsiteY27" fmla="*/ 144916 h 361971"/>
                  <a:gd name="connsiteX28" fmla="*/ 83708 w 362309"/>
                  <a:gd name="connsiteY28" fmla="*/ 121934 h 361971"/>
                  <a:gd name="connsiteX29" fmla="*/ 88181 w 362309"/>
                  <a:gd name="connsiteY29" fmla="*/ 116827 h 361971"/>
                  <a:gd name="connsiteX30" fmla="*/ 94571 w 362309"/>
                  <a:gd name="connsiteY30" fmla="*/ 118104 h 361971"/>
                  <a:gd name="connsiteX31" fmla="*/ 105434 w 362309"/>
                  <a:gd name="connsiteY31" fmla="*/ 128957 h 361971"/>
                  <a:gd name="connsiteX32" fmla="*/ 128438 w 362309"/>
                  <a:gd name="connsiteY32" fmla="*/ 128957 h 361971"/>
                  <a:gd name="connsiteX33" fmla="*/ 132911 w 362309"/>
                  <a:gd name="connsiteY33" fmla="*/ 117465 h 361971"/>
                  <a:gd name="connsiteX34" fmla="*/ 128438 w 362309"/>
                  <a:gd name="connsiteY34" fmla="*/ 105974 h 361971"/>
                  <a:gd name="connsiteX35" fmla="*/ 117575 w 362309"/>
                  <a:gd name="connsiteY35" fmla="*/ 95121 h 361971"/>
                  <a:gd name="connsiteX36" fmla="*/ 117575 w 362309"/>
                  <a:gd name="connsiteY36" fmla="*/ 86184 h 361971"/>
                  <a:gd name="connsiteX37" fmla="*/ 121409 w 362309"/>
                  <a:gd name="connsiteY37" fmla="*/ 84269 h 361971"/>
                  <a:gd name="connsiteX38" fmla="*/ 172528 w 362309"/>
                  <a:gd name="connsiteY38" fmla="*/ 121934 h 361971"/>
                  <a:gd name="connsiteX39" fmla="*/ 169972 w 362309"/>
                  <a:gd name="connsiteY39" fmla="*/ 144916 h 361971"/>
                  <a:gd name="connsiteX40" fmla="*/ 177001 w 362309"/>
                  <a:gd name="connsiteY40" fmla="*/ 151939 h 361971"/>
                  <a:gd name="connsiteX41" fmla="*/ 205756 w 362309"/>
                  <a:gd name="connsiteY41" fmla="*/ 123211 h 361971"/>
                  <a:gd name="connsiteX42" fmla="*/ 184669 w 362309"/>
                  <a:gd name="connsiteY42" fmla="*/ 102144 h 361971"/>
                  <a:gd name="connsiteX43" fmla="*/ 184669 w 362309"/>
                  <a:gd name="connsiteY43" fmla="*/ 93206 h 361971"/>
                  <a:gd name="connsiteX44" fmla="*/ 187225 w 362309"/>
                  <a:gd name="connsiteY44" fmla="*/ 90653 h 361971"/>
                  <a:gd name="connsiteX45" fmla="*/ 192976 w 362309"/>
                  <a:gd name="connsiteY45" fmla="*/ 88738 h 361971"/>
                  <a:gd name="connsiteX46" fmla="*/ 237706 w 362309"/>
                  <a:gd name="connsiteY46" fmla="*/ 99590 h 361971"/>
                  <a:gd name="connsiteX47" fmla="*/ 240901 w 362309"/>
                  <a:gd name="connsiteY47" fmla="*/ 101505 h 361971"/>
                  <a:gd name="connsiteX48" fmla="*/ 278601 w 362309"/>
                  <a:gd name="connsiteY48" fmla="*/ 139171 h 361971"/>
                  <a:gd name="connsiteX49" fmla="*/ 277962 w 362309"/>
                  <a:gd name="connsiteY49" fmla="*/ 149385 h 361971"/>
                  <a:gd name="connsiteX50" fmla="*/ 277962 w 362309"/>
                  <a:gd name="connsiteY50" fmla="*/ 149385 h 361971"/>
                  <a:gd name="connsiteX51" fmla="*/ 277962 w 362309"/>
                  <a:gd name="connsiteY51" fmla="*/ 149385 h 361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362309" h="361971">
                    <a:moveTo>
                      <a:pt x="181474" y="0"/>
                    </a:moveTo>
                    <a:cubicBezTo>
                      <a:pt x="81152" y="0"/>
                      <a:pt x="0" y="81077"/>
                      <a:pt x="0" y="180667"/>
                    </a:cubicBezTo>
                    <a:cubicBezTo>
                      <a:pt x="0" y="280257"/>
                      <a:pt x="81152" y="361972"/>
                      <a:pt x="180835" y="361972"/>
                    </a:cubicBezTo>
                    <a:cubicBezTo>
                      <a:pt x="281157" y="361972"/>
                      <a:pt x="362310" y="280895"/>
                      <a:pt x="362310" y="181305"/>
                    </a:cubicBezTo>
                    <a:cubicBezTo>
                      <a:pt x="362310" y="181305"/>
                      <a:pt x="362310" y="181305"/>
                      <a:pt x="362310" y="181305"/>
                    </a:cubicBezTo>
                    <a:cubicBezTo>
                      <a:pt x="362310" y="81077"/>
                      <a:pt x="281157" y="0"/>
                      <a:pt x="181474" y="0"/>
                    </a:cubicBezTo>
                    <a:cubicBezTo>
                      <a:pt x="181474" y="0"/>
                      <a:pt x="181474" y="0"/>
                      <a:pt x="181474" y="0"/>
                    </a:cubicBezTo>
                    <a:close/>
                    <a:moveTo>
                      <a:pt x="277962" y="149385"/>
                    </a:moveTo>
                    <a:lnTo>
                      <a:pt x="258792" y="168537"/>
                    </a:lnTo>
                    <a:cubicBezTo>
                      <a:pt x="256236" y="171091"/>
                      <a:pt x="252403" y="171091"/>
                      <a:pt x="249846" y="168537"/>
                    </a:cubicBezTo>
                    <a:cubicBezTo>
                      <a:pt x="249846" y="168537"/>
                      <a:pt x="249846" y="168537"/>
                      <a:pt x="249846" y="168537"/>
                    </a:cubicBezTo>
                    <a:lnTo>
                      <a:pt x="231316" y="150024"/>
                    </a:lnTo>
                    <a:lnTo>
                      <a:pt x="202561" y="178752"/>
                    </a:lnTo>
                    <a:lnTo>
                      <a:pt x="269655" y="246422"/>
                    </a:lnTo>
                    <a:cubicBezTo>
                      <a:pt x="276684" y="253444"/>
                      <a:pt x="276684" y="264297"/>
                      <a:pt x="269655" y="271319"/>
                    </a:cubicBezTo>
                    <a:cubicBezTo>
                      <a:pt x="269655" y="271319"/>
                      <a:pt x="269655" y="271319"/>
                      <a:pt x="269655" y="271319"/>
                    </a:cubicBezTo>
                    <a:lnTo>
                      <a:pt x="269655" y="271319"/>
                    </a:lnTo>
                    <a:cubicBezTo>
                      <a:pt x="266460" y="274511"/>
                      <a:pt x="261349" y="276427"/>
                      <a:pt x="256876" y="276427"/>
                    </a:cubicBezTo>
                    <a:cubicBezTo>
                      <a:pt x="252403" y="276427"/>
                      <a:pt x="247929" y="274511"/>
                      <a:pt x="244735" y="271319"/>
                    </a:cubicBezTo>
                    <a:lnTo>
                      <a:pt x="177640" y="204287"/>
                    </a:lnTo>
                    <a:lnTo>
                      <a:pt x="114380" y="267489"/>
                    </a:lnTo>
                    <a:cubicBezTo>
                      <a:pt x="111185" y="270681"/>
                      <a:pt x="106712" y="272596"/>
                      <a:pt x="102239" y="272596"/>
                    </a:cubicBezTo>
                    <a:cubicBezTo>
                      <a:pt x="97127" y="272596"/>
                      <a:pt x="92654" y="270681"/>
                      <a:pt x="88820" y="266851"/>
                    </a:cubicBezTo>
                    <a:cubicBezTo>
                      <a:pt x="85625" y="263659"/>
                      <a:pt x="83069" y="259190"/>
                      <a:pt x="83069" y="254083"/>
                    </a:cubicBezTo>
                    <a:cubicBezTo>
                      <a:pt x="83069" y="248975"/>
                      <a:pt x="84986" y="244507"/>
                      <a:pt x="88820" y="241315"/>
                    </a:cubicBezTo>
                    <a:lnTo>
                      <a:pt x="152080" y="178113"/>
                    </a:lnTo>
                    <a:lnTo>
                      <a:pt x="144412" y="170452"/>
                    </a:lnTo>
                    <a:cubicBezTo>
                      <a:pt x="121409" y="179390"/>
                      <a:pt x="95210" y="167899"/>
                      <a:pt x="86264" y="144916"/>
                    </a:cubicBezTo>
                    <a:cubicBezTo>
                      <a:pt x="83708" y="137894"/>
                      <a:pt x="82430" y="129595"/>
                      <a:pt x="83708" y="121934"/>
                    </a:cubicBezTo>
                    <a:cubicBezTo>
                      <a:pt x="84347" y="119381"/>
                      <a:pt x="85625" y="117465"/>
                      <a:pt x="88181" y="116827"/>
                    </a:cubicBezTo>
                    <a:cubicBezTo>
                      <a:pt x="90737" y="116189"/>
                      <a:pt x="92654" y="116827"/>
                      <a:pt x="94571" y="118104"/>
                    </a:cubicBezTo>
                    <a:lnTo>
                      <a:pt x="105434" y="128957"/>
                    </a:lnTo>
                    <a:cubicBezTo>
                      <a:pt x="111824" y="135341"/>
                      <a:pt x="122048" y="135341"/>
                      <a:pt x="128438" y="128957"/>
                    </a:cubicBezTo>
                    <a:cubicBezTo>
                      <a:pt x="131633" y="125765"/>
                      <a:pt x="132911" y="121934"/>
                      <a:pt x="132911" y="117465"/>
                    </a:cubicBezTo>
                    <a:cubicBezTo>
                      <a:pt x="132911" y="112997"/>
                      <a:pt x="130994" y="109166"/>
                      <a:pt x="128438" y="105974"/>
                    </a:cubicBezTo>
                    <a:lnTo>
                      <a:pt x="117575" y="95121"/>
                    </a:lnTo>
                    <a:cubicBezTo>
                      <a:pt x="115019" y="92568"/>
                      <a:pt x="115019" y="88738"/>
                      <a:pt x="117575" y="86184"/>
                    </a:cubicBezTo>
                    <a:cubicBezTo>
                      <a:pt x="118853" y="84907"/>
                      <a:pt x="119492" y="84269"/>
                      <a:pt x="121409" y="84269"/>
                    </a:cubicBezTo>
                    <a:cubicBezTo>
                      <a:pt x="145690" y="80438"/>
                      <a:pt x="168695" y="97675"/>
                      <a:pt x="172528" y="121934"/>
                    </a:cubicBezTo>
                    <a:cubicBezTo>
                      <a:pt x="173806" y="129595"/>
                      <a:pt x="172528" y="137894"/>
                      <a:pt x="169972" y="144916"/>
                    </a:cubicBezTo>
                    <a:lnTo>
                      <a:pt x="177001" y="151939"/>
                    </a:lnTo>
                    <a:lnTo>
                      <a:pt x="205756" y="123211"/>
                    </a:lnTo>
                    <a:lnTo>
                      <a:pt x="184669" y="102144"/>
                    </a:lnTo>
                    <a:cubicBezTo>
                      <a:pt x="182113" y="99590"/>
                      <a:pt x="182113" y="95760"/>
                      <a:pt x="184669" y="93206"/>
                    </a:cubicBezTo>
                    <a:lnTo>
                      <a:pt x="187225" y="90653"/>
                    </a:lnTo>
                    <a:cubicBezTo>
                      <a:pt x="188503" y="89376"/>
                      <a:pt x="191059" y="88738"/>
                      <a:pt x="192976" y="88738"/>
                    </a:cubicBezTo>
                    <a:lnTo>
                      <a:pt x="237706" y="99590"/>
                    </a:lnTo>
                    <a:cubicBezTo>
                      <a:pt x="238984" y="99590"/>
                      <a:pt x="239623" y="100229"/>
                      <a:pt x="240901" y="101505"/>
                    </a:cubicBezTo>
                    <a:lnTo>
                      <a:pt x="278601" y="139171"/>
                    </a:lnTo>
                    <a:cubicBezTo>
                      <a:pt x="280518" y="143001"/>
                      <a:pt x="280518" y="146832"/>
                      <a:pt x="277962" y="149385"/>
                    </a:cubicBezTo>
                    <a:cubicBezTo>
                      <a:pt x="277962" y="149385"/>
                      <a:pt x="277962" y="149385"/>
                      <a:pt x="277962" y="149385"/>
                    </a:cubicBezTo>
                    <a:lnTo>
                      <a:pt x="277962" y="149385"/>
                    </a:lnTo>
                    <a:close/>
                  </a:path>
                </a:pathLst>
              </a:custGeom>
              <a:grpFill/>
              <a:ln w="6390" cap="flat">
                <a:noFill/>
                <a:prstDash val="solid"/>
                <a:miter/>
              </a:ln>
            </p:spPr>
            <p:txBody>
              <a:bodyPr rtlCol="0" anchor="ctr"/>
              <a:lstStyle/>
              <a:p>
                <a:endParaRPr lang="en-US" sz="2000" dirty="0">
                  <a:solidFill>
                    <a:srgbClr val="7F7F7F"/>
                  </a:solidFill>
                </a:endParaRPr>
              </a:p>
            </p:txBody>
          </p:sp>
        </p:grpSp>
      </p:grpSp>
      <p:sp>
        <p:nvSpPr>
          <p:cNvPr id="401" name="Text Placeholder 5">
            <a:extLst>
              <a:ext uri="{FF2B5EF4-FFF2-40B4-BE49-F238E27FC236}">
                <a16:creationId xmlns:a16="http://schemas.microsoft.com/office/drawing/2014/main" id="{DC429204-FB00-4C38-95EE-F99E45879794}"/>
              </a:ext>
            </a:extLst>
          </p:cNvPr>
          <p:cNvSpPr txBox="1">
            <a:spLocks noChangeAspect="1"/>
          </p:cNvSpPr>
          <p:nvPr/>
        </p:nvSpPr>
        <p:spPr>
          <a:xfrm>
            <a:off x="2320055" y="5348507"/>
            <a:ext cx="1049003" cy="473413"/>
          </a:xfrm>
          <a:prstGeom prst="can">
            <a:avLst/>
          </a:prstGeom>
          <a:solidFill>
            <a:srgbClr val="005587"/>
          </a:solidFill>
          <a:ln w="12700">
            <a:solidFill>
              <a:srgbClr val="005587"/>
            </a:solidFill>
          </a:ln>
          <a:effectLst>
            <a:outerShdw blurRad="76200" dir="18900000" sy="23000" kx="-1200000" algn="bl" rotWithShape="0">
              <a:prstClr val="black">
                <a:alpha val="30000"/>
              </a:prstClr>
            </a:outerShdw>
          </a:effectLst>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ctr" defTabSz="957263" rtl="0" eaLnBrk="1" fontAlgn="base" latinLnBrk="0" hangingPunct="1">
              <a:lnSpc>
                <a:spcPct val="100000"/>
              </a:lnSpc>
              <a:spcBef>
                <a:spcPts val="445"/>
              </a:spcBef>
              <a:spcAft>
                <a:spcPts val="0"/>
              </a:spcAft>
              <a:buClrTx/>
              <a:buSzTx/>
              <a:buFont typeface="Arial" charset="0"/>
              <a:buNone/>
              <a:tabLst/>
              <a:defRPr/>
            </a:pPr>
            <a:r>
              <a:rPr kumimoji="0" lang="en-GB" sz="1200"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Capex Spend</a:t>
            </a:r>
          </a:p>
        </p:txBody>
      </p:sp>
      <p:sp>
        <p:nvSpPr>
          <p:cNvPr id="402" name="Text Placeholder 5">
            <a:extLst>
              <a:ext uri="{FF2B5EF4-FFF2-40B4-BE49-F238E27FC236}">
                <a16:creationId xmlns:a16="http://schemas.microsoft.com/office/drawing/2014/main" id="{A9F0BA4C-0B35-4370-A988-4947B689338C}"/>
              </a:ext>
            </a:extLst>
          </p:cNvPr>
          <p:cNvSpPr txBox="1">
            <a:spLocks noChangeAspect="1"/>
          </p:cNvSpPr>
          <p:nvPr/>
        </p:nvSpPr>
        <p:spPr>
          <a:xfrm>
            <a:off x="1074216" y="5638768"/>
            <a:ext cx="1332540" cy="613457"/>
          </a:xfrm>
          <a:prstGeom prst="can">
            <a:avLst/>
          </a:prstGeom>
          <a:solidFill>
            <a:srgbClr val="007680"/>
          </a:solidFill>
          <a:ln w="12700">
            <a:solidFill>
              <a:srgbClr val="007680"/>
            </a:solidFill>
          </a:ln>
          <a:effectLst>
            <a:outerShdw blurRad="76200" dir="18900000" sy="23000" kx="-1200000" algn="bl" rotWithShape="0">
              <a:prstClr val="black">
                <a:alpha val="30000"/>
              </a:prstClr>
            </a:outerShdw>
          </a:effectLst>
        </p:spPr>
        <p:txBody>
          <a:bodyPr wrap="square" lIns="0" tIns="0" rIns="0" bIns="0" anchor="ctr"/>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marR="0" lvl="0" indent="0" algn="ctr" defTabSz="957263" rtl="0" eaLnBrk="1" fontAlgn="base" latinLnBrk="0" hangingPunct="1">
              <a:lnSpc>
                <a:spcPct val="100000"/>
              </a:lnSpc>
              <a:spcBef>
                <a:spcPts val="445"/>
              </a:spcBef>
              <a:spcAft>
                <a:spcPts val="0"/>
              </a:spcAft>
              <a:buClrTx/>
              <a:buSzTx/>
              <a:buFont typeface="Arial" charset="0"/>
              <a:buNone/>
              <a:tabLst/>
              <a:defRPr/>
            </a:pPr>
            <a:r>
              <a:rPr kumimoji="0" lang="en-GB" b="1" i="0" u="none" strike="noStrike" kern="1200" cap="none" spc="0" normalizeH="0" baseline="0" noProof="0" dirty="0">
                <a:ln>
                  <a:noFill/>
                </a:ln>
                <a:solidFill>
                  <a:prstClr val="white"/>
                </a:solidFill>
                <a:effectLst/>
                <a:uLnTx/>
                <a:uFillTx/>
                <a:latin typeface="Calibri Light" panose="020F0302020204030204" pitchFamily="34" charset="0"/>
                <a:ea typeface="+mn-ea"/>
                <a:cs typeface="Calibri Light" panose="020F0302020204030204" pitchFamily="34" charset="0"/>
              </a:rPr>
              <a:t>Opex Spend</a:t>
            </a:r>
          </a:p>
        </p:txBody>
      </p:sp>
      <p:sp>
        <p:nvSpPr>
          <p:cNvPr id="403" name="Arrow: Chevron 402">
            <a:extLst>
              <a:ext uri="{FF2B5EF4-FFF2-40B4-BE49-F238E27FC236}">
                <a16:creationId xmlns:a16="http://schemas.microsoft.com/office/drawing/2014/main" id="{E9FA5391-0C14-48CB-B170-4BF07426633A}"/>
              </a:ext>
            </a:extLst>
          </p:cNvPr>
          <p:cNvSpPr/>
          <p:nvPr/>
        </p:nvSpPr>
        <p:spPr bwMode="gray">
          <a:xfrm rot="16200000">
            <a:off x="10674218" y="5533791"/>
            <a:ext cx="762755" cy="180000"/>
          </a:xfrm>
          <a:prstGeom prst="chevron">
            <a:avLst>
              <a:gd name="adj" fmla="val 28356"/>
            </a:avLst>
          </a:prstGeom>
          <a:solidFill>
            <a:srgbClr val="0097A9"/>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404" name="Text Box 10">
            <a:extLst>
              <a:ext uri="{FF2B5EF4-FFF2-40B4-BE49-F238E27FC236}">
                <a16:creationId xmlns:a16="http://schemas.microsoft.com/office/drawing/2014/main" id="{B29249DD-DAC5-467B-B4E2-FB7A6F18D62D}"/>
              </a:ext>
            </a:extLst>
          </p:cNvPr>
          <p:cNvSpPr txBox="1">
            <a:spLocks noChangeArrowheads="1"/>
          </p:cNvSpPr>
          <p:nvPr/>
        </p:nvSpPr>
        <p:spPr bwMode="auto">
          <a:xfrm flipH="1">
            <a:off x="11304050" y="4383481"/>
            <a:ext cx="484665" cy="323165"/>
          </a:xfrm>
          <a:prstGeom prst="rect">
            <a:avLst/>
          </a:prstGeom>
          <a:noFill/>
          <a:ln w="9525">
            <a:noFill/>
            <a:miter lim="800000"/>
            <a:headEnd/>
            <a:tailEnd/>
          </a:ln>
        </p:spPr>
        <p:txBody>
          <a:bodyPr wrap="square" lIns="45720" tIns="22860" rIns="45720" bIns="22860" anchor="ctr">
            <a:spAutoFit/>
          </a:bodyPr>
          <a:lstStyle/>
          <a:p>
            <a:pPr algn="ctr" defTabSz="1088232"/>
            <a:r>
              <a:rPr lang="en-GB" sz="1200" b="1">
                <a:solidFill>
                  <a:srgbClr val="6FC2B4"/>
                </a:solidFill>
                <a:latin typeface="+mj-lt"/>
                <a:ea typeface="Open Sans Light" pitchFamily="34" charset="0"/>
                <a:cs typeface="Open Sans Light" pitchFamily="34" charset="0"/>
              </a:rPr>
              <a:t>+35%</a:t>
            </a:r>
          </a:p>
          <a:p>
            <a:pPr algn="ctr" defTabSz="1088232"/>
            <a:r>
              <a:rPr lang="en-GB" sz="600" b="1">
                <a:solidFill>
                  <a:srgbClr val="6FC2B4"/>
                </a:solidFill>
                <a:latin typeface="+mj-lt"/>
                <a:ea typeface="Open Sans Light" pitchFamily="34" charset="0"/>
                <a:cs typeface="Open Sans Light" pitchFamily="34" charset="0"/>
              </a:rPr>
              <a:t>more FTEs</a:t>
            </a:r>
            <a:endParaRPr lang="en-GB" sz="600" b="1" dirty="0">
              <a:solidFill>
                <a:srgbClr val="6FC2B4"/>
              </a:solidFill>
              <a:latin typeface="+mj-lt"/>
              <a:ea typeface="Open Sans Light" pitchFamily="34" charset="0"/>
              <a:cs typeface="Open Sans Light" pitchFamily="34" charset="0"/>
            </a:endParaRPr>
          </a:p>
        </p:txBody>
      </p:sp>
      <p:sp>
        <p:nvSpPr>
          <p:cNvPr id="405" name="Text Box 10">
            <a:extLst>
              <a:ext uri="{FF2B5EF4-FFF2-40B4-BE49-F238E27FC236}">
                <a16:creationId xmlns:a16="http://schemas.microsoft.com/office/drawing/2014/main" id="{561539CE-6E13-481C-A2EF-30045F00740E}"/>
              </a:ext>
            </a:extLst>
          </p:cNvPr>
          <p:cNvSpPr txBox="1">
            <a:spLocks noChangeArrowheads="1"/>
          </p:cNvSpPr>
          <p:nvPr/>
        </p:nvSpPr>
        <p:spPr bwMode="auto">
          <a:xfrm flipH="1">
            <a:off x="10822373" y="4927229"/>
            <a:ext cx="455599" cy="323165"/>
          </a:xfrm>
          <a:prstGeom prst="rect">
            <a:avLst/>
          </a:prstGeom>
          <a:noFill/>
          <a:ln w="9525">
            <a:noFill/>
            <a:miter lim="800000"/>
            <a:headEnd/>
            <a:tailEnd/>
          </a:ln>
        </p:spPr>
        <p:txBody>
          <a:bodyPr wrap="square" lIns="45720" tIns="22860" rIns="45720" bIns="22860" anchor="ctr">
            <a:spAutoFit/>
          </a:bodyPr>
          <a:lstStyle/>
          <a:p>
            <a:pPr algn="ctr" defTabSz="1088232"/>
            <a:r>
              <a:rPr lang="en-GB" sz="1200" b="1">
                <a:solidFill>
                  <a:srgbClr val="0097A9"/>
                </a:solidFill>
                <a:latin typeface="+mj-lt"/>
                <a:ea typeface="Open Sans Light" pitchFamily="34" charset="0"/>
                <a:cs typeface="Open Sans Light" pitchFamily="34" charset="0"/>
              </a:rPr>
              <a:t>+10%</a:t>
            </a:r>
          </a:p>
          <a:p>
            <a:pPr algn="ctr" defTabSz="1088232"/>
            <a:r>
              <a:rPr lang="en-GB" sz="600" b="1">
                <a:solidFill>
                  <a:srgbClr val="0097A9"/>
                </a:solidFill>
                <a:latin typeface="+mj-lt"/>
                <a:ea typeface="Open Sans Light" pitchFamily="34" charset="0"/>
                <a:cs typeface="Open Sans Light" pitchFamily="34" charset="0"/>
              </a:rPr>
              <a:t>more FTEs</a:t>
            </a:r>
            <a:endParaRPr lang="en-GB" sz="600" b="1" dirty="0">
              <a:solidFill>
                <a:srgbClr val="0097A9"/>
              </a:solidFill>
              <a:latin typeface="+mj-lt"/>
              <a:ea typeface="Open Sans Light" pitchFamily="34" charset="0"/>
              <a:cs typeface="Open Sans Light" pitchFamily="34" charset="0"/>
            </a:endParaRPr>
          </a:p>
        </p:txBody>
      </p:sp>
      <p:sp>
        <p:nvSpPr>
          <p:cNvPr id="406" name="Arrow: Chevron 405">
            <a:extLst>
              <a:ext uri="{FF2B5EF4-FFF2-40B4-BE49-F238E27FC236}">
                <a16:creationId xmlns:a16="http://schemas.microsoft.com/office/drawing/2014/main" id="{18CF0413-A015-4903-89FB-827FB65F1D93}"/>
              </a:ext>
            </a:extLst>
          </p:cNvPr>
          <p:cNvSpPr/>
          <p:nvPr/>
        </p:nvSpPr>
        <p:spPr bwMode="gray">
          <a:xfrm rot="16200000">
            <a:off x="10890640" y="5266834"/>
            <a:ext cx="1300377" cy="180000"/>
          </a:xfrm>
          <a:prstGeom prst="chevron">
            <a:avLst>
              <a:gd name="adj" fmla="val 28356"/>
            </a:avLst>
          </a:prstGeom>
          <a:solidFill>
            <a:srgbClr val="6FC2B4"/>
          </a:solidFill>
          <a:ln w="19050" algn="ctr">
            <a:noFill/>
            <a:miter lim="800000"/>
            <a:headEnd/>
            <a:tailEnd/>
          </a:ln>
          <a:effectLst>
            <a:outerShdw blurRad="50800" dist="38100" dir="5400000" algn="t" rotWithShape="0">
              <a:prstClr val="black">
                <a:alpha val="40000"/>
              </a:prstClr>
            </a:outerShdw>
          </a:effectLst>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Tree>
    <p:extLst>
      <p:ext uri="{BB962C8B-B14F-4D97-AF65-F5344CB8AC3E}">
        <p14:creationId xmlns:p14="http://schemas.microsoft.com/office/powerpoint/2010/main" val="3804712182"/>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0594D29-CA7D-4B0E-8FB6-4F47C62FA1B0}"/>
              </a:ext>
            </a:extLst>
          </p:cNvPr>
          <p:cNvSpPr>
            <a:spLocks noGrp="1"/>
          </p:cNvSpPr>
          <p:nvPr>
            <p:ph idx="1"/>
          </p:nvPr>
        </p:nvSpPr>
        <p:spPr>
          <a:xfrm>
            <a:off x="501651" y="1191952"/>
            <a:ext cx="9147958" cy="4716463"/>
          </a:xfrm>
        </p:spPr>
        <p:txBody>
          <a:bodyPr numCol="2" spcCol="360000"/>
          <a:lstStyle/>
          <a:p>
            <a:pPr marL="285750" indent="-285750">
              <a:buFont typeface="Arial" panose="020B0604020202020204" pitchFamily="34" charset="0"/>
              <a:buChar char="•"/>
            </a:pPr>
            <a:r>
              <a:rPr lang="en-GB" sz="1400"/>
              <a:t>Indicative only</a:t>
            </a:r>
          </a:p>
          <a:p>
            <a:pPr marL="285750" indent="-285750">
              <a:buFont typeface="Arial" panose="020B0604020202020204" pitchFamily="34" charset="0"/>
              <a:buChar char="•"/>
            </a:pPr>
            <a:r>
              <a:rPr lang="en-GB" sz="1400"/>
              <a:t>Big variation – both within broader categories (Metro, provincial, rural) and as between e.g. Metros and Provincial</a:t>
            </a:r>
          </a:p>
          <a:p>
            <a:pPr marL="285750" indent="-285750">
              <a:buFont typeface="Arial" panose="020B0604020202020204" pitchFamily="34" charset="0"/>
              <a:buChar char="•"/>
            </a:pPr>
            <a:r>
              <a:rPr lang="en-GB" sz="1400"/>
              <a:t>Start point may not be an accurate reflection of what is required to deliver today</a:t>
            </a:r>
          </a:p>
          <a:p>
            <a:pPr marL="285750" indent="-285750">
              <a:buFont typeface="Arial" panose="020B0604020202020204" pitchFamily="34" charset="0"/>
              <a:buChar char="•"/>
            </a:pPr>
            <a:r>
              <a:rPr lang="en-GB" sz="1400"/>
              <a:t>Challenge to determine where the “water workforce” begins and ends – and what is discrete versus homogenous – with different market/supply/demand dynamics for each </a:t>
            </a:r>
          </a:p>
          <a:p>
            <a:pPr marL="285750" indent="-285750">
              <a:buFont typeface="Arial" panose="020B0604020202020204" pitchFamily="34" charset="0"/>
              <a:buChar char="•"/>
            </a:pPr>
            <a:r>
              <a:rPr lang="en-GB" sz="1400"/>
              <a:t>Not a forward-looking workforce structure – e.g., impact of technology, role for Maori/Iwi, Efficiency via better procurement, reginal coordination re nature and sequencing of work etc</a:t>
            </a:r>
          </a:p>
          <a:p>
            <a:pPr marL="285750" indent="-285750">
              <a:buFont typeface="Arial" panose="020B0604020202020204" pitchFamily="34" charset="0"/>
              <a:buChar char="•"/>
            </a:pPr>
            <a:r>
              <a:rPr lang="en-GB" sz="1400"/>
              <a:t>Any response needs to have multiple dimensions:</a:t>
            </a:r>
          </a:p>
          <a:p>
            <a:pPr marL="285750" indent="-285750">
              <a:buFont typeface="Arial" panose="020B0604020202020204" pitchFamily="34" charset="0"/>
              <a:buChar char="•"/>
            </a:pPr>
            <a:r>
              <a:rPr lang="en-GB" sz="1400" b="1"/>
              <a:t>Incentives</a:t>
            </a:r>
            <a:r>
              <a:rPr lang="en-GB" sz="1400"/>
              <a:t> – what will be the supply side response to e.g., better procurement practices, pipeline certainty etc</a:t>
            </a:r>
          </a:p>
          <a:p>
            <a:pPr marL="285750" indent="-285750">
              <a:buFont typeface="Arial" panose="020B0604020202020204" pitchFamily="34" charset="0"/>
              <a:buChar char="•"/>
            </a:pPr>
            <a:r>
              <a:rPr lang="en-GB" sz="1400" b="1"/>
              <a:t>Integration</a:t>
            </a:r>
            <a:r>
              <a:rPr lang="en-GB" sz="1400"/>
              <a:t> - how can better integration facilitate a better response e.g., between WSEs, between government initiated infra spend, between government agencies and strategies e.g., Immigration, taxation, within professional services associations</a:t>
            </a:r>
          </a:p>
          <a:p>
            <a:pPr marL="285750" indent="-285750">
              <a:buFont typeface="Arial" panose="020B0604020202020204" pitchFamily="34" charset="0"/>
              <a:buChar char="•"/>
            </a:pPr>
            <a:r>
              <a:rPr lang="en-GB" sz="1400" b="1"/>
              <a:t>Intervention</a:t>
            </a:r>
            <a:r>
              <a:rPr lang="en-GB" sz="1400"/>
              <a:t> – where is “central/coordinated” intervention needed – e.g., training, tertiary sector – domestic and international – professional associations</a:t>
            </a:r>
            <a:endParaRPr lang="en-GB" sz="1400" dirty="0"/>
          </a:p>
        </p:txBody>
      </p:sp>
      <p:sp>
        <p:nvSpPr>
          <p:cNvPr id="5" name="Title 4">
            <a:extLst>
              <a:ext uri="{FF2B5EF4-FFF2-40B4-BE49-F238E27FC236}">
                <a16:creationId xmlns:a16="http://schemas.microsoft.com/office/drawing/2014/main" id="{48CD1DAE-569F-465B-8411-27B9EC3E43D7}"/>
              </a:ext>
            </a:extLst>
          </p:cNvPr>
          <p:cNvSpPr>
            <a:spLocks noGrp="1"/>
          </p:cNvSpPr>
          <p:nvPr>
            <p:ph type="title"/>
          </p:nvPr>
        </p:nvSpPr>
        <p:spPr/>
        <p:txBody>
          <a:bodyPr/>
          <a:lstStyle/>
          <a:p>
            <a:r>
              <a:rPr lang="en-GB"/>
              <a:t>Interpretation and Caveats</a:t>
            </a:r>
            <a:endParaRPr lang="en-GB" dirty="0"/>
          </a:p>
        </p:txBody>
      </p:sp>
    </p:spTree>
    <p:extLst>
      <p:ext uri="{BB962C8B-B14F-4D97-AF65-F5344CB8AC3E}">
        <p14:creationId xmlns:p14="http://schemas.microsoft.com/office/powerpoint/2010/main" val="75024602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0076A8"/>
        </a:solidFill>
        <a:effectLst/>
      </p:bgPr>
    </p:bg>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8CD1DAE-569F-465B-8411-27B9EC3E43D7}"/>
              </a:ext>
            </a:extLst>
          </p:cNvPr>
          <p:cNvSpPr>
            <a:spLocks noGrp="1"/>
          </p:cNvSpPr>
          <p:nvPr>
            <p:ph type="title"/>
          </p:nvPr>
        </p:nvSpPr>
        <p:spPr/>
        <p:txBody>
          <a:bodyPr/>
          <a:lstStyle/>
          <a:p>
            <a:r>
              <a:rPr lang="en-GB"/>
              <a:t>Questions?</a:t>
            </a:r>
            <a:endParaRPr lang="en-GB" dirty="0"/>
          </a:p>
        </p:txBody>
      </p:sp>
      <p:sp>
        <p:nvSpPr>
          <p:cNvPr id="2" name="Text Placeholder 1">
            <a:extLst>
              <a:ext uri="{FF2B5EF4-FFF2-40B4-BE49-F238E27FC236}">
                <a16:creationId xmlns:a16="http://schemas.microsoft.com/office/drawing/2014/main" id="{85842291-5A67-00AE-5DBD-535BDBD1B2AD}"/>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79666479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custData r:id="rId1"/>
      <p:custData r:id="rId2"/>
    </p:custDataLst>
    <p:extLst>
      <p:ext uri="{BB962C8B-B14F-4D97-AF65-F5344CB8AC3E}">
        <p14:creationId xmlns:p14="http://schemas.microsoft.com/office/powerpoint/2010/main" val="10003233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0594D29-CA7D-4B0E-8FB6-4F47C62FA1B0}"/>
              </a:ext>
            </a:extLst>
          </p:cNvPr>
          <p:cNvSpPr>
            <a:spLocks noGrp="1"/>
          </p:cNvSpPr>
          <p:nvPr>
            <p:ph idx="1"/>
          </p:nvPr>
        </p:nvSpPr>
        <p:spPr>
          <a:xfrm>
            <a:off x="501651" y="1945247"/>
            <a:ext cx="11072040" cy="3444592"/>
          </a:xfrm>
        </p:spPr>
        <p:txBody>
          <a:bodyPr numCol="2" spcCol="360000"/>
          <a:lstStyle/>
          <a:p>
            <a:pPr marL="285750" indent="-285750">
              <a:buClr>
                <a:schemeClr val="tx1"/>
              </a:buClr>
              <a:buFont typeface="Arial" panose="020B0604020202020204" pitchFamily="34" charset="0"/>
              <a:buChar char="•"/>
            </a:pPr>
            <a:r>
              <a:rPr lang="en-GB" sz="1400"/>
              <a:t>Three Waters Reform – expectation of a material step up in investment relative to the status quo</a:t>
            </a:r>
          </a:p>
          <a:p>
            <a:pPr marL="285750" indent="-285750">
              <a:buClr>
                <a:schemeClr val="tx1"/>
              </a:buClr>
              <a:buFont typeface="Arial" panose="020B0604020202020204" pitchFamily="34" charset="0"/>
              <a:buChar char="•"/>
            </a:pPr>
            <a:r>
              <a:rPr lang="en-GB" sz="1400"/>
              <a:t>Council LTP’s – incorporate expectations of a significant increase in both capex and opex over the next 10 years</a:t>
            </a:r>
          </a:p>
          <a:p>
            <a:pPr marL="285750" indent="-285750">
              <a:buClr>
                <a:schemeClr val="tx1"/>
              </a:buClr>
              <a:buFont typeface="Arial" panose="020B0604020202020204" pitchFamily="34" charset="0"/>
              <a:buChar char="•"/>
            </a:pPr>
            <a:r>
              <a:rPr lang="en-GB" sz="1400"/>
              <a:t>Deloitte Economic Impact Study – indicates impact on employment but not the water workforce</a:t>
            </a:r>
          </a:p>
          <a:p>
            <a:pPr marL="285750" indent="-285750">
              <a:buClr>
                <a:schemeClr val="tx1"/>
              </a:buClr>
              <a:buFont typeface="Arial" panose="020B0604020202020204" pitchFamily="34" charset="0"/>
              <a:buChar char="•"/>
            </a:pPr>
            <a:r>
              <a:rPr lang="en-GB" sz="1400"/>
              <a:t>Near term delivery of Council LTPs – supply chain and workforce issues impacting on ability to deliver</a:t>
            </a:r>
          </a:p>
          <a:p>
            <a:pPr marL="285750" indent="-285750">
              <a:buClr>
                <a:schemeClr val="tx1"/>
              </a:buClr>
              <a:buFont typeface="Arial" panose="020B0604020202020204" pitchFamily="34" charset="0"/>
              <a:buChar char="•"/>
            </a:pPr>
            <a:r>
              <a:rPr lang="en-GB" sz="1400"/>
              <a:t>Multi-disciplinary nature of the workforce – capability sits across a broad spectrum of industry/professional services classifications</a:t>
            </a:r>
          </a:p>
          <a:p>
            <a:pPr marL="285750" indent="-285750">
              <a:buClr>
                <a:schemeClr val="tx1"/>
              </a:buClr>
              <a:buFont typeface="Arial" panose="020B0604020202020204" pitchFamily="34" charset="0"/>
              <a:buChar char="•"/>
            </a:pPr>
            <a:r>
              <a:rPr lang="en-GB" sz="1400"/>
              <a:t>Different structural arrangements and operating models by Council and water services entity – impacts on the ability to “bookend” the workforce</a:t>
            </a:r>
          </a:p>
          <a:p>
            <a:pPr marL="285750" indent="-285750">
              <a:buClr>
                <a:schemeClr val="tx1"/>
              </a:buClr>
              <a:buFont typeface="Arial" panose="020B0604020202020204" pitchFamily="34" charset="0"/>
              <a:buChar char="•"/>
            </a:pPr>
            <a:r>
              <a:rPr lang="en-GB" sz="1400"/>
              <a:t>Significant changes to New Zealand’s vocational training arrangements</a:t>
            </a:r>
          </a:p>
          <a:p>
            <a:pPr marL="285750" indent="-285750">
              <a:buClr>
                <a:schemeClr val="tx1"/>
              </a:buClr>
              <a:buFont typeface="Arial" panose="020B0604020202020204" pitchFamily="34" charset="0"/>
              <a:buChar char="•"/>
            </a:pPr>
            <a:r>
              <a:rPr lang="en-GB" sz="1400"/>
              <a:t>Lack of definitive data-sets to inform workforce planning and provide assurance to the existing workforce re current and future opportunities</a:t>
            </a:r>
            <a:br>
              <a:rPr lang="en-GB" sz="1400"/>
            </a:br>
            <a:endParaRPr lang="en-GB" sz="1400"/>
          </a:p>
          <a:p>
            <a:r>
              <a:rPr lang="en-GB" sz="1400"/>
              <a:t>All of which raised concerns re workforce capacity/capability and the information available to inform that – and no one version of the truth.</a:t>
            </a:r>
            <a:endParaRPr lang="en-GB" sz="1400" dirty="0"/>
          </a:p>
        </p:txBody>
      </p:sp>
      <p:sp>
        <p:nvSpPr>
          <p:cNvPr id="5" name="Title 4">
            <a:extLst>
              <a:ext uri="{FF2B5EF4-FFF2-40B4-BE49-F238E27FC236}">
                <a16:creationId xmlns:a16="http://schemas.microsoft.com/office/drawing/2014/main" id="{48CD1DAE-569F-465B-8411-27B9EC3E43D7}"/>
              </a:ext>
            </a:extLst>
          </p:cNvPr>
          <p:cNvSpPr>
            <a:spLocks noGrp="1"/>
          </p:cNvSpPr>
          <p:nvPr>
            <p:ph type="title"/>
          </p:nvPr>
        </p:nvSpPr>
        <p:spPr>
          <a:xfrm>
            <a:off x="501652" y="317500"/>
            <a:ext cx="10332000" cy="698501"/>
          </a:xfrm>
        </p:spPr>
        <p:txBody>
          <a:bodyPr/>
          <a:lstStyle/>
          <a:p>
            <a:r>
              <a:rPr lang="en-GB" dirty="0"/>
              <a:t>Modelling the Future Water Workforce</a:t>
            </a:r>
            <a:br>
              <a:rPr lang="en-GB" dirty="0"/>
            </a:br>
            <a:r>
              <a:rPr lang="en-GB" sz="1800" spc="-30" dirty="0">
                <a:solidFill>
                  <a:srgbClr val="575757"/>
                </a:solidFill>
                <a:latin typeface="Calibri Light" panose="020F0302020204030204" pitchFamily="34" charset="0"/>
                <a:ea typeface="+mn-ea"/>
              </a:rPr>
              <a:t>The makeup and scale of the current and future “water workforce” is an area of significant interest to policy makers, sector and relevant professional bodies</a:t>
            </a:r>
          </a:p>
        </p:txBody>
      </p:sp>
      <p:sp>
        <p:nvSpPr>
          <p:cNvPr id="3" name="TextBox 2">
            <a:extLst>
              <a:ext uri="{FF2B5EF4-FFF2-40B4-BE49-F238E27FC236}">
                <a16:creationId xmlns:a16="http://schemas.microsoft.com/office/drawing/2014/main" id="{D1BFCEB3-ED7E-EDB1-BA1E-9BCB2E88178C}"/>
              </a:ext>
            </a:extLst>
          </p:cNvPr>
          <p:cNvSpPr txBox="1"/>
          <p:nvPr/>
        </p:nvSpPr>
        <p:spPr>
          <a:xfrm>
            <a:off x="501651" y="1468161"/>
            <a:ext cx="6099586" cy="369332"/>
          </a:xfrm>
          <a:prstGeom prst="rect">
            <a:avLst/>
          </a:prstGeom>
          <a:noFill/>
        </p:spPr>
        <p:txBody>
          <a:bodyPr wrap="square">
            <a:spAutoFit/>
          </a:bodyPr>
          <a:lstStyle/>
          <a:p>
            <a:r>
              <a:rPr lang="en-GB" sz="1800" b="1">
                <a:solidFill>
                  <a:schemeClr val="accent2"/>
                </a:solidFill>
              </a:rPr>
              <a:t>Context</a:t>
            </a:r>
            <a:endParaRPr lang="en-GB" sz="1800" b="1" dirty="0">
              <a:solidFill>
                <a:schemeClr val="accent2"/>
              </a:solidFill>
            </a:endParaRPr>
          </a:p>
        </p:txBody>
      </p:sp>
    </p:spTree>
    <p:extLst>
      <p:ext uri="{BB962C8B-B14F-4D97-AF65-F5344CB8AC3E}">
        <p14:creationId xmlns:p14="http://schemas.microsoft.com/office/powerpoint/2010/main" val="407696559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B0594D29-CA7D-4B0E-8FB6-4F47C62FA1B0}"/>
              </a:ext>
            </a:extLst>
          </p:cNvPr>
          <p:cNvSpPr>
            <a:spLocks noGrp="1"/>
          </p:cNvSpPr>
          <p:nvPr>
            <p:ph idx="1"/>
          </p:nvPr>
        </p:nvSpPr>
        <p:spPr>
          <a:xfrm>
            <a:off x="501651" y="1665289"/>
            <a:ext cx="9878966" cy="4716463"/>
          </a:xfrm>
        </p:spPr>
        <p:txBody>
          <a:bodyPr/>
          <a:lstStyle/>
          <a:p>
            <a:pPr marL="285750" indent="-285750">
              <a:buClr>
                <a:schemeClr val="accent1"/>
              </a:buClr>
              <a:buFont typeface="Arial" panose="020B0604020202020204" pitchFamily="34" charset="0"/>
              <a:buChar char="•"/>
            </a:pPr>
            <a:r>
              <a:rPr lang="en-GB" sz="1400" b="1">
                <a:solidFill>
                  <a:schemeClr val="accent2"/>
                </a:solidFill>
              </a:rPr>
              <a:t>Deloitte Economic Impact study</a:t>
            </a:r>
          </a:p>
          <a:p>
            <a:pPr marL="590550" lvl="2" indent="-285750">
              <a:buFont typeface="Courier New" panose="02070309020205020404" pitchFamily="49" charset="0"/>
              <a:buChar char="o"/>
            </a:pPr>
            <a:r>
              <a:rPr lang="en-GB" sz="1400"/>
              <a:t>CGE Modelling – capex impact</a:t>
            </a:r>
          </a:p>
          <a:p>
            <a:pPr marL="590550" lvl="2" indent="-285750">
              <a:buFont typeface="Courier New" panose="02070309020205020404" pitchFamily="49" charset="0"/>
              <a:buChar char="o"/>
            </a:pPr>
            <a:r>
              <a:rPr lang="en-GB" sz="1400"/>
              <a:t>Affected Industries analysis</a:t>
            </a:r>
          </a:p>
          <a:p>
            <a:pPr marL="285750" indent="-285750">
              <a:buClr>
                <a:schemeClr val="accent1"/>
              </a:buClr>
              <a:buFont typeface="Arial" panose="020B0604020202020204" pitchFamily="34" charset="0"/>
              <a:buChar char="•"/>
            </a:pPr>
            <a:r>
              <a:rPr lang="en-GB" sz="1400" b="1">
                <a:solidFill>
                  <a:schemeClr val="accent2"/>
                </a:solidFill>
              </a:rPr>
              <a:t>Wellington Region Three Waters Workforce Challenges</a:t>
            </a:r>
          </a:p>
          <a:p>
            <a:pPr marL="590550" lvl="2" indent="-285750">
              <a:buFont typeface="Courier New" panose="02070309020205020404" pitchFamily="49" charset="0"/>
              <a:buChar char="o"/>
            </a:pPr>
            <a:r>
              <a:rPr lang="en-GB" sz="1400"/>
              <a:t>Development of analytical tool in consultation with Wellington Water and delivery partners – contractors and consultants – capital expenditure (capex) focus</a:t>
            </a:r>
          </a:p>
          <a:p>
            <a:pPr marL="590550" lvl="2" indent="-285750">
              <a:buFont typeface="Courier New" panose="02070309020205020404" pitchFamily="49" charset="0"/>
              <a:buChar char="o"/>
            </a:pPr>
            <a:r>
              <a:rPr lang="en-GB" sz="1400"/>
              <a:t>Consultation with wider supply chain – e.g., equipment and materials providers</a:t>
            </a:r>
          </a:p>
          <a:p>
            <a:pPr marL="285750" indent="-285750">
              <a:buClr>
                <a:schemeClr val="accent1"/>
              </a:buClr>
              <a:buFont typeface="Arial" panose="020B0604020202020204" pitchFamily="34" charset="0"/>
              <a:buChar char="•"/>
            </a:pPr>
            <a:r>
              <a:rPr lang="en-GB" sz="1400" b="1">
                <a:solidFill>
                  <a:schemeClr val="accent2"/>
                </a:solidFill>
              </a:rPr>
              <a:t>Water Workforce Analysis - Expansion of the Wellington Water analysis commissioned jointly by DIA and Waihanga-Aro-Rau </a:t>
            </a:r>
          </a:p>
          <a:p>
            <a:pPr marL="590550" lvl="2" indent="-285750">
              <a:buFont typeface="Courier New" panose="02070309020205020404" pitchFamily="49" charset="0"/>
              <a:buChar char="o"/>
            </a:pPr>
            <a:r>
              <a:rPr lang="en-GB" sz="1400"/>
              <a:t>Expand to include operating expenditure (opex)</a:t>
            </a:r>
          </a:p>
          <a:p>
            <a:pPr marL="590550" lvl="2" indent="-285750">
              <a:buFont typeface="Courier New" panose="02070309020205020404" pitchFamily="49" charset="0"/>
              <a:buChar char="o"/>
            </a:pPr>
            <a:r>
              <a:rPr lang="en-GB" sz="1400"/>
              <a:t>Validate/challenge in consultation with Watercare/Healthy Waters</a:t>
            </a:r>
          </a:p>
          <a:p>
            <a:pPr marL="590550" lvl="2" indent="-285750">
              <a:buFont typeface="Courier New" panose="02070309020205020404" pitchFamily="49" charset="0"/>
              <a:buChar char="o"/>
            </a:pPr>
            <a:r>
              <a:rPr lang="en-GB" sz="1400"/>
              <a:t>Engagement with a small set of provincial/rural councils</a:t>
            </a:r>
            <a:endParaRPr lang="en-GB" sz="1400" dirty="0"/>
          </a:p>
        </p:txBody>
      </p:sp>
      <p:sp>
        <p:nvSpPr>
          <p:cNvPr id="5" name="Title 4">
            <a:extLst>
              <a:ext uri="{FF2B5EF4-FFF2-40B4-BE49-F238E27FC236}">
                <a16:creationId xmlns:a16="http://schemas.microsoft.com/office/drawing/2014/main" id="{48CD1DAE-569F-465B-8411-27B9EC3E43D7}"/>
              </a:ext>
            </a:extLst>
          </p:cNvPr>
          <p:cNvSpPr>
            <a:spLocks noGrp="1"/>
          </p:cNvSpPr>
          <p:nvPr>
            <p:ph type="title"/>
          </p:nvPr>
        </p:nvSpPr>
        <p:spPr/>
        <p:txBody>
          <a:bodyPr/>
          <a:lstStyle/>
          <a:p>
            <a:r>
              <a:rPr lang="en-GB" dirty="0"/>
              <a:t>Overview </a:t>
            </a:r>
            <a:br>
              <a:rPr lang="en-GB" dirty="0"/>
            </a:br>
            <a:r>
              <a:rPr lang="en-GB" sz="1800" spc="-30" dirty="0">
                <a:solidFill>
                  <a:srgbClr val="575757"/>
                </a:solidFill>
                <a:latin typeface="Calibri Light" panose="020F0302020204030204" pitchFamily="34" charset="0"/>
                <a:ea typeface="+mn-ea"/>
              </a:rPr>
              <a:t>This presentation provides and overview of the sector engagement, analysis and modelling undertaken by Deloitte to provide an initial analysis of the current and prospective workforce</a:t>
            </a:r>
          </a:p>
        </p:txBody>
      </p:sp>
    </p:spTree>
    <p:extLst>
      <p:ext uri="{BB962C8B-B14F-4D97-AF65-F5344CB8AC3E}">
        <p14:creationId xmlns:p14="http://schemas.microsoft.com/office/powerpoint/2010/main" val="20151098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8CD1DAE-569F-465B-8411-27B9EC3E43D7}"/>
              </a:ext>
            </a:extLst>
          </p:cNvPr>
          <p:cNvSpPr>
            <a:spLocks noGrp="1"/>
          </p:cNvSpPr>
          <p:nvPr>
            <p:ph type="title"/>
          </p:nvPr>
        </p:nvSpPr>
        <p:spPr/>
        <p:txBody>
          <a:bodyPr/>
          <a:lstStyle/>
          <a:p>
            <a:r>
              <a:rPr lang="en-GB"/>
              <a:t>Study Comparison</a:t>
            </a:r>
            <a:endParaRPr lang="en-GB" dirty="0"/>
          </a:p>
        </p:txBody>
      </p:sp>
      <p:graphicFrame>
        <p:nvGraphicFramePr>
          <p:cNvPr id="2" name="Table 1">
            <a:extLst>
              <a:ext uri="{FF2B5EF4-FFF2-40B4-BE49-F238E27FC236}">
                <a16:creationId xmlns:a16="http://schemas.microsoft.com/office/drawing/2014/main" id="{FC3D565C-1465-DDDD-5495-69024E306E45}"/>
              </a:ext>
            </a:extLst>
          </p:cNvPr>
          <p:cNvGraphicFramePr>
            <a:graphicFrameLocks noGrp="1"/>
          </p:cNvGraphicFramePr>
          <p:nvPr>
            <p:extLst>
              <p:ext uri="{D42A27DB-BD31-4B8C-83A1-F6EECF244321}">
                <p14:modId xmlns:p14="http://schemas.microsoft.com/office/powerpoint/2010/main" val="1971225788"/>
              </p:ext>
            </p:extLst>
          </p:nvPr>
        </p:nvGraphicFramePr>
        <p:xfrm>
          <a:off x="501652" y="1402080"/>
          <a:ext cx="10144251" cy="4316539"/>
        </p:xfrm>
        <a:graphic>
          <a:graphicData uri="http://schemas.openxmlformats.org/drawingml/2006/table">
            <a:tbl>
              <a:tblPr firstRow="1" firstCol="1" bandRow="1"/>
              <a:tblGrid>
                <a:gridCol w="3381042">
                  <a:extLst>
                    <a:ext uri="{9D8B030D-6E8A-4147-A177-3AD203B41FA5}">
                      <a16:colId xmlns:a16="http://schemas.microsoft.com/office/drawing/2014/main" val="692492380"/>
                    </a:ext>
                  </a:extLst>
                </a:gridCol>
                <a:gridCol w="3381042">
                  <a:extLst>
                    <a:ext uri="{9D8B030D-6E8A-4147-A177-3AD203B41FA5}">
                      <a16:colId xmlns:a16="http://schemas.microsoft.com/office/drawing/2014/main" val="1642656653"/>
                    </a:ext>
                  </a:extLst>
                </a:gridCol>
                <a:gridCol w="3382167">
                  <a:extLst>
                    <a:ext uri="{9D8B030D-6E8A-4147-A177-3AD203B41FA5}">
                      <a16:colId xmlns:a16="http://schemas.microsoft.com/office/drawing/2014/main" val="1886002317"/>
                    </a:ext>
                  </a:extLst>
                </a:gridCol>
              </a:tblGrid>
              <a:tr h="342726">
                <a:tc>
                  <a:txBody>
                    <a:bodyPr/>
                    <a:lstStyle/>
                    <a:p>
                      <a:pPr>
                        <a:lnSpc>
                          <a:spcPct val="100000"/>
                        </a:lnSpc>
                        <a:spcBef>
                          <a:spcPts val="600"/>
                        </a:spcBef>
                        <a:spcAft>
                          <a:spcPts val="600"/>
                        </a:spcAft>
                      </a:pPr>
                      <a:r>
                        <a:rPr lang="en-NZ"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Study</a:t>
                      </a:r>
                      <a:endParaRPr lang="en-NZ"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nSpc>
                          <a:spcPct val="100000"/>
                        </a:lnSpc>
                        <a:spcBef>
                          <a:spcPts val="600"/>
                        </a:spcBef>
                        <a:spcAft>
                          <a:spcPts val="600"/>
                        </a:spcAft>
                      </a:pPr>
                      <a:r>
                        <a:rPr lang="en-NZ"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Economic Impact</a:t>
                      </a:r>
                      <a:endParaRPr lang="en-NZ"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tc>
                  <a:txBody>
                    <a:bodyPr/>
                    <a:lstStyle/>
                    <a:p>
                      <a:pPr>
                        <a:lnSpc>
                          <a:spcPct val="100000"/>
                        </a:lnSpc>
                        <a:spcBef>
                          <a:spcPts val="600"/>
                        </a:spcBef>
                        <a:spcAft>
                          <a:spcPts val="600"/>
                        </a:spcAft>
                      </a:pPr>
                      <a:r>
                        <a:rPr lang="en-NZ" sz="1200" b="1"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Workforce Analysis</a:t>
                      </a:r>
                      <a:endParaRPr lang="en-NZ" sz="12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2"/>
                    </a:solidFill>
                  </a:tcPr>
                </a:tc>
                <a:extLst>
                  <a:ext uri="{0D108BD9-81ED-4DB2-BD59-A6C34878D82A}">
                    <a16:rowId xmlns:a16="http://schemas.microsoft.com/office/drawing/2014/main" val="855293064"/>
                  </a:ext>
                </a:extLst>
              </a:tr>
              <a:tr h="534472">
                <a:tc>
                  <a:txBody>
                    <a:bodyPr/>
                    <a:lstStyle/>
                    <a:p>
                      <a:pPr>
                        <a:lnSpc>
                          <a:spcPct val="100000"/>
                        </a:lnSpc>
                        <a:spcBef>
                          <a:spcPts val="600"/>
                        </a:spcBef>
                        <a:spcAft>
                          <a:spcPts val="600"/>
                        </a:spcAft>
                      </a:pPr>
                      <a:r>
                        <a:rPr lang="en-NZ" sz="1200" dirty="0">
                          <a:effectLst/>
                          <a:latin typeface="Calibri" panose="020F0502020204030204" pitchFamily="34" charset="0"/>
                          <a:ea typeface="Calibri" panose="020F0502020204030204" pitchFamily="34" charset="0"/>
                          <a:cs typeface="Times New Roman" panose="02020603050405020304" pitchFamily="18" charset="0"/>
                        </a:rPr>
                        <a:t>Purpose</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600"/>
                        </a:spcBef>
                        <a:spcAft>
                          <a:spcPts val="600"/>
                        </a:spcAft>
                      </a:pPr>
                      <a:r>
                        <a:rPr lang="en-NZ" sz="1200" dirty="0">
                          <a:effectLst/>
                          <a:latin typeface="Calibri" panose="020F0502020204030204" pitchFamily="34" charset="0"/>
                          <a:ea typeface="Calibri" panose="020F0502020204030204" pitchFamily="34" charset="0"/>
                          <a:cs typeface="Times New Roman" panose="02020603050405020304" pitchFamily="18" charset="0"/>
                        </a:rPr>
                        <a:t>To inform the RIS</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600"/>
                        </a:spcBef>
                        <a:spcAft>
                          <a:spcPts val="600"/>
                        </a:spcAft>
                      </a:pPr>
                      <a:r>
                        <a:rPr lang="en-NZ" sz="1200" dirty="0">
                          <a:effectLst/>
                          <a:latin typeface="Calibri" panose="020F0502020204030204" pitchFamily="34" charset="0"/>
                          <a:ea typeface="Calibri" panose="020F0502020204030204" pitchFamily="34" charset="0"/>
                          <a:cs typeface="Times New Roman" panose="02020603050405020304" pitchFamily="18" charset="0"/>
                        </a:rPr>
                        <a:t>To inform workforce analysis for DIA/</a:t>
                      </a:r>
                      <a:r>
                        <a:rPr lang="en-NZ" sz="1200" dirty="0" err="1">
                          <a:effectLst/>
                          <a:latin typeface="Calibri" panose="020F0502020204030204" pitchFamily="34" charset="0"/>
                          <a:ea typeface="Calibri" panose="020F0502020204030204" pitchFamily="34" charset="0"/>
                          <a:cs typeface="Times New Roman" panose="02020603050405020304" pitchFamily="18" charset="0"/>
                        </a:rPr>
                        <a:t>Waihanga</a:t>
                      </a:r>
                      <a:r>
                        <a:rPr lang="en-NZ" sz="1200" dirty="0">
                          <a:effectLst/>
                          <a:latin typeface="Calibri" panose="020F0502020204030204" pitchFamily="34" charset="0"/>
                          <a:ea typeface="Calibri" panose="020F0502020204030204" pitchFamily="34" charset="0"/>
                          <a:cs typeface="Times New Roman" panose="02020603050405020304" pitchFamily="18" charset="0"/>
                        </a:rPr>
                        <a:t>-</a:t>
                      </a:r>
                      <a:r>
                        <a:rPr lang="en-NZ" sz="1200" dirty="0" err="1">
                          <a:effectLst/>
                          <a:latin typeface="Calibri" panose="020F0502020204030204" pitchFamily="34" charset="0"/>
                          <a:ea typeface="Calibri" panose="020F0502020204030204" pitchFamily="34" charset="0"/>
                          <a:cs typeface="Times New Roman" panose="02020603050405020304" pitchFamily="18" charset="0"/>
                        </a:rPr>
                        <a:t>Aro</a:t>
                      </a:r>
                      <a:r>
                        <a:rPr lang="en-NZ" sz="1200" dirty="0">
                          <a:effectLst/>
                          <a:latin typeface="Calibri" panose="020F0502020204030204" pitchFamily="34" charset="0"/>
                          <a:ea typeface="Calibri" panose="020F0502020204030204" pitchFamily="34" charset="0"/>
                          <a:cs typeface="Times New Roman" panose="02020603050405020304" pitchFamily="18" charset="0"/>
                        </a:rPr>
                        <a:t>-Rau</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9671978"/>
                  </a:ext>
                </a:extLst>
              </a:tr>
              <a:tr h="726217">
                <a:tc>
                  <a:txBody>
                    <a:bodyPr/>
                    <a:lstStyle/>
                    <a:p>
                      <a:pPr>
                        <a:lnSpc>
                          <a:spcPct val="100000"/>
                        </a:lnSpc>
                        <a:spcBef>
                          <a:spcPts val="600"/>
                        </a:spcBef>
                        <a:spcAft>
                          <a:spcPts val="600"/>
                        </a:spcAft>
                      </a:pPr>
                      <a:r>
                        <a:rPr lang="en-NZ" sz="1200" dirty="0">
                          <a:effectLst/>
                          <a:latin typeface="Calibri" panose="020F0502020204030204" pitchFamily="34" charset="0"/>
                          <a:ea typeface="Calibri" panose="020F0502020204030204" pitchFamily="34" charset="0"/>
                          <a:cs typeface="Times New Roman" panose="02020603050405020304" pitchFamily="18" charset="0"/>
                        </a:rPr>
                        <a:t>Model</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600"/>
                        </a:spcBef>
                        <a:spcAft>
                          <a:spcPts val="600"/>
                        </a:spcAft>
                      </a:pPr>
                      <a:r>
                        <a:rPr lang="en-NZ" sz="1200">
                          <a:effectLst/>
                          <a:latin typeface="Calibri" panose="020F0502020204030204" pitchFamily="34" charset="0"/>
                          <a:ea typeface="Calibri" panose="020F0502020204030204" pitchFamily="34" charset="0"/>
                          <a:cs typeface="Times New Roman" panose="02020603050405020304" pitchFamily="18" charset="0"/>
                        </a:rPr>
                        <a:t>Computable General Equilibrium (CGE) Model – an economic model measures how an economy might shift as a consequence of a “shock”</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600"/>
                        </a:spcBef>
                        <a:spcAft>
                          <a:spcPts val="600"/>
                        </a:spcAft>
                      </a:pPr>
                      <a:r>
                        <a:rPr lang="en-NZ" sz="1200" dirty="0">
                          <a:effectLst/>
                          <a:latin typeface="Calibri" panose="020F0502020204030204" pitchFamily="34" charset="0"/>
                          <a:ea typeface="Calibri" panose="020F0502020204030204" pitchFamily="34" charset="0"/>
                          <a:cs typeface="Times New Roman" panose="02020603050405020304" pitchFamily="18" charset="0"/>
                        </a:rPr>
                        <a:t>Forecast Model – measures how outputs can change as input assumptions are varied</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248245"/>
                  </a:ext>
                </a:extLst>
              </a:tr>
              <a:tr h="917963">
                <a:tc>
                  <a:txBody>
                    <a:bodyPr/>
                    <a:lstStyle/>
                    <a:p>
                      <a:pPr>
                        <a:lnSpc>
                          <a:spcPct val="100000"/>
                        </a:lnSpc>
                        <a:spcBef>
                          <a:spcPts val="600"/>
                        </a:spcBef>
                        <a:spcAft>
                          <a:spcPts val="600"/>
                        </a:spcAft>
                      </a:pPr>
                      <a:r>
                        <a:rPr lang="en-NZ" sz="1200">
                          <a:effectLst/>
                          <a:latin typeface="Calibri" panose="020F0502020204030204" pitchFamily="34" charset="0"/>
                          <a:ea typeface="Calibri" panose="020F0502020204030204" pitchFamily="34" charset="0"/>
                          <a:cs typeface="Times New Roman" panose="02020603050405020304" pitchFamily="18" charset="0"/>
                        </a:rPr>
                        <a:t>Inputs</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600"/>
                        </a:spcBef>
                        <a:spcAft>
                          <a:spcPts val="600"/>
                        </a:spcAft>
                      </a:pPr>
                      <a:r>
                        <a:rPr lang="en-NZ" sz="1200" i="1" dirty="0">
                          <a:effectLst/>
                          <a:latin typeface="Calibri" panose="020F0502020204030204" pitchFamily="34" charset="0"/>
                          <a:ea typeface="Calibri" panose="020F0502020204030204" pitchFamily="34" charset="0"/>
                          <a:cs typeface="Times New Roman" panose="02020603050405020304" pitchFamily="18" charset="0"/>
                        </a:rPr>
                        <a:t>Marginal increase</a:t>
                      </a:r>
                      <a:r>
                        <a:rPr lang="en-NZ" sz="1200" dirty="0">
                          <a:effectLst/>
                          <a:latin typeface="Calibri" panose="020F0502020204030204" pitchFamily="34" charset="0"/>
                          <a:ea typeface="Calibri" panose="020F0502020204030204" pitchFamily="34" charset="0"/>
                          <a:cs typeface="Times New Roman" panose="02020603050405020304" pitchFamily="18" charset="0"/>
                        </a:rPr>
                        <a:t> in capital expenditure investment assumed brought forward as a result of water reform – with increased capex ranging from $2.2b to $4.3b pa.</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600"/>
                        </a:spcBef>
                        <a:spcAft>
                          <a:spcPts val="600"/>
                        </a:spcAft>
                      </a:pPr>
                      <a:r>
                        <a:rPr lang="en-NZ" sz="1200" i="1">
                          <a:effectLst/>
                          <a:latin typeface="Calibri" panose="020F0502020204030204" pitchFamily="34" charset="0"/>
                          <a:ea typeface="Calibri" panose="020F0502020204030204" pitchFamily="34" charset="0"/>
                          <a:cs typeface="Times New Roman" panose="02020603050405020304" pitchFamily="18" charset="0"/>
                        </a:rPr>
                        <a:t>Absolute level</a:t>
                      </a:r>
                      <a:r>
                        <a:rPr lang="en-NZ" sz="1200">
                          <a:effectLst/>
                          <a:latin typeface="Calibri" panose="020F0502020204030204" pitchFamily="34" charset="0"/>
                          <a:ea typeface="Calibri" panose="020F0502020204030204" pitchFamily="34" charset="0"/>
                          <a:cs typeface="Times New Roman" panose="02020603050405020304" pitchFamily="18" charset="0"/>
                        </a:rPr>
                        <a:t> of projected council spending on Three Waters capital expenditure (capex) and operational expenditure (opex) as sourced from council LTPs</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7917578"/>
                  </a:ext>
                </a:extLst>
              </a:tr>
              <a:tr h="534472">
                <a:tc>
                  <a:txBody>
                    <a:bodyPr/>
                    <a:lstStyle/>
                    <a:p>
                      <a:pPr>
                        <a:lnSpc>
                          <a:spcPct val="100000"/>
                        </a:lnSpc>
                        <a:spcBef>
                          <a:spcPts val="600"/>
                        </a:spcBef>
                        <a:spcAft>
                          <a:spcPts val="600"/>
                        </a:spcAft>
                      </a:pPr>
                      <a:r>
                        <a:rPr lang="en-NZ" sz="1200">
                          <a:effectLst/>
                          <a:latin typeface="Calibri" panose="020F0502020204030204" pitchFamily="34" charset="0"/>
                          <a:ea typeface="Calibri" panose="020F0502020204030204" pitchFamily="34" charset="0"/>
                          <a:cs typeface="Times New Roman" panose="02020603050405020304" pitchFamily="18" charset="0"/>
                        </a:rPr>
                        <a:t>Source</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600"/>
                        </a:spcBef>
                        <a:spcAft>
                          <a:spcPts val="600"/>
                        </a:spcAft>
                      </a:pPr>
                      <a:r>
                        <a:rPr lang="en-NZ" sz="1200" dirty="0">
                          <a:effectLst/>
                          <a:latin typeface="Calibri" panose="020F0502020204030204" pitchFamily="34" charset="0"/>
                          <a:ea typeface="Calibri" panose="020F0502020204030204" pitchFamily="34" charset="0"/>
                          <a:cs typeface="Times New Roman" panose="02020603050405020304" pitchFamily="18" charset="0"/>
                        </a:rPr>
                        <a:t>Water Industry Commission of Scotland (WICS)</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600"/>
                        </a:spcBef>
                        <a:spcAft>
                          <a:spcPts val="600"/>
                        </a:spcAft>
                      </a:pPr>
                      <a:r>
                        <a:rPr lang="en-NZ" sz="1200">
                          <a:effectLst/>
                          <a:latin typeface="Calibri" panose="020F0502020204030204" pitchFamily="34" charset="0"/>
                          <a:ea typeface="Calibri" panose="020F0502020204030204" pitchFamily="34" charset="0"/>
                          <a:cs typeface="Times New Roman" panose="02020603050405020304" pitchFamily="18" charset="0"/>
                        </a:rPr>
                        <a:t>Council LTPs + specific input from Wellington Water, Watercare and Healthy Waters</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5369604"/>
                  </a:ext>
                </a:extLst>
              </a:tr>
              <a:tr h="342726">
                <a:tc>
                  <a:txBody>
                    <a:bodyPr/>
                    <a:lstStyle/>
                    <a:p>
                      <a:pPr>
                        <a:lnSpc>
                          <a:spcPct val="100000"/>
                        </a:lnSpc>
                        <a:spcBef>
                          <a:spcPts val="600"/>
                        </a:spcBef>
                        <a:spcAft>
                          <a:spcPts val="600"/>
                        </a:spcAft>
                      </a:pPr>
                      <a:r>
                        <a:rPr lang="en-NZ" sz="1200">
                          <a:effectLst/>
                          <a:latin typeface="Calibri" panose="020F0502020204030204" pitchFamily="34" charset="0"/>
                          <a:ea typeface="Calibri" panose="020F0502020204030204" pitchFamily="34" charset="0"/>
                          <a:cs typeface="Times New Roman" panose="02020603050405020304" pitchFamily="18" charset="0"/>
                        </a:rPr>
                        <a:t>Timeframe</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600"/>
                        </a:spcBef>
                        <a:spcAft>
                          <a:spcPts val="600"/>
                        </a:spcAft>
                      </a:pPr>
                      <a:r>
                        <a:rPr lang="en-NZ" sz="1200">
                          <a:effectLst/>
                          <a:latin typeface="Calibri" panose="020F0502020204030204" pitchFamily="34" charset="0"/>
                          <a:ea typeface="Calibri" panose="020F0502020204030204" pitchFamily="34" charset="0"/>
                          <a:cs typeface="Times New Roman" panose="02020603050405020304" pitchFamily="18" charset="0"/>
                        </a:rPr>
                        <a:t>30 years</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600"/>
                        </a:spcBef>
                        <a:spcAft>
                          <a:spcPts val="600"/>
                        </a:spcAft>
                      </a:pPr>
                      <a:r>
                        <a:rPr lang="en-NZ" sz="1200">
                          <a:effectLst/>
                          <a:latin typeface="Calibri" panose="020F0502020204030204" pitchFamily="34" charset="0"/>
                          <a:ea typeface="Calibri" panose="020F0502020204030204" pitchFamily="34" charset="0"/>
                          <a:cs typeface="Times New Roman" panose="02020603050405020304" pitchFamily="18" charset="0"/>
                        </a:rPr>
                        <a:t>10 years</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68794762"/>
                  </a:ext>
                </a:extLst>
              </a:tr>
              <a:tr h="917963">
                <a:tc>
                  <a:txBody>
                    <a:bodyPr/>
                    <a:lstStyle/>
                    <a:p>
                      <a:pPr>
                        <a:lnSpc>
                          <a:spcPct val="100000"/>
                        </a:lnSpc>
                        <a:spcBef>
                          <a:spcPts val="600"/>
                        </a:spcBef>
                        <a:spcAft>
                          <a:spcPts val="600"/>
                        </a:spcAft>
                      </a:pPr>
                      <a:r>
                        <a:rPr lang="en-NZ" sz="1200" dirty="0">
                          <a:effectLst/>
                          <a:latin typeface="Calibri" panose="020F0502020204030204" pitchFamily="34" charset="0"/>
                          <a:ea typeface="Calibri" panose="020F0502020204030204" pitchFamily="34" charset="0"/>
                          <a:cs typeface="Times New Roman" panose="02020603050405020304" pitchFamily="18" charset="0"/>
                        </a:rPr>
                        <a:t>Outputs</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600"/>
                        </a:spcBef>
                        <a:spcAft>
                          <a:spcPts val="600"/>
                        </a:spcAft>
                      </a:pPr>
                      <a:r>
                        <a:rPr lang="en-NZ" sz="1200" dirty="0">
                          <a:effectLst/>
                          <a:latin typeface="Calibri" panose="020F0502020204030204" pitchFamily="34" charset="0"/>
                          <a:ea typeface="Calibri" panose="020F0502020204030204" pitchFamily="34" charset="0"/>
                          <a:cs typeface="Times New Roman" panose="02020603050405020304" pitchFamily="18" charset="0"/>
                        </a:rPr>
                        <a:t>Economic impacts measured against five output categories. The employment outcomes are for the whole economy, not specifically the water workforce</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nSpc>
                          <a:spcPct val="100000"/>
                        </a:lnSpc>
                        <a:spcBef>
                          <a:spcPts val="600"/>
                        </a:spcBef>
                        <a:spcAft>
                          <a:spcPts val="600"/>
                        </a:spcAft>
                      </a:pPr>
                      <a:r>
                        <a:rPr lang="en-NZ" sz="1200" dirty="0">
                          <a:effectLst/>
                          <a:latin typeface="Calibri" panose="020F0502020204030204" pitchFamily="34" charset="0"/>
                          <a:ea typeface="Calibri" panose="020F0502020204030204" pitchFamily="34" charset="0"/>
                          <a:cs typeface="Times New Roman" panose="02020603050405020304" pitchFamily="18" charset="0"/>
                        </a:rPr>
                        <a:t>Projected Water workforce by FTE numbers and role types</a:t>
                      </a:r>
                    </a:p>
                  </a:txBody>
                  <a:tcPr marL="68580" marR="68580" marT="72000" marB="72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6701364"/>
                  </a:ext>
                </a:extLst>
              </a:tr>
            </a:tbl>
          </a:graphicData>
        </a:graphic>
      </p:graphicFrame>
      <p:sp>
        <p:nvSpPr>
          <p:cNvPr id="4" name="Title 4">
            <a:extLst>
              <a:ext uri="{FF2B5EF4-FFF2-40B4-BE49-F238E27FC236}">
                <a16:creationId xmlns:a16="http://schemas.microsoft.com/office/drawing/2014/main" id="{CEE00718-8C63-446D-A218-BE020E7213FC}"/>
              </a:ext>
            </a:extLst>
          </p:cNvPr>
          <p:cNvSpPr txBox="1">
            <a:spLocks/>
          </p:cNvSpPr>
          <p:nvPr/>
        </p:nvSpPr>
        <p:spPr bwMode="gray">
          <a:xfrm>
            <a:off x="501652" y="382591"/>
            <a:ext cx="11180232" cy="698501"/>
          </a:xfrm>
          <a:prstGeom prst="rect">
            <a:avLst/>
          </a:prstGeom>
        </p:spPr>
        <p:txBody>
          <a:bodyPr vert="horz" lIns="0" tIns="0" rIns="0" bIns="0" rtlCol="0" anchor="t" anchorCtr="0">
            <a:noAutofit/>
          </a:bodyPr>
          <a:lst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a:lstStyle>
          <a:p>
            <a:br>
              <a:rPr lang="en-GB" dirty="0"/>
            </a:br>
            <a:r>
              <a:rPr lang="en-GB" sz="1800" spc="-30" dirty="0">
                <a:solidFill>
                  <a:srgbClr val="575757"/>
                </a:solidFill>
                <a:latin typeface="Calibri Light" panose="020F0302020204030204" pitchFamily="34" charset="0"/>
                <a:ea typeface="+mn-ea"/>
              </a:rPr>
              <a:t>The Economic Impact Analysis and Water Workforce Analysis were separate projects and completed for different purposes</a:t>
            </a:r>
          </a:p>
        </p:txBody>
      </p:sp>
    </p:spTree>
    <p:extLst>
      <p:ext uri="{BB962C8B-B14F-4D97-AF65-F5344CB8AC3E}">
        <p14:creationId xmlns:p14="http://schemas.microsoft.com/office/powerpoint/2010/main" val="3471633746"/>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6"/>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0C5DFC-556E-419D-B26B-1C525718E1DD}"/>
              </a:ext>
            </a:extLst>
          </p:cNvPr>
          <p:cNvSpPr>
            <a:spLocks noGrp="1"/>
          </p:cNvSpPr>
          <p:nvPr>
            <p:ph type="title"/>
          </p:nvPr>
        </p:nvSpPr>
        <p:spPr/>
        <p:txBody>
          <a:bodyPr/>
          <a:lstStyle/>
          <a:p>
            <a:r>
              <a:rPr lang="en-GB"/>
              <a:t>Deloitte Economic Impact Study </a:t>
            </a:r>
            <a:endParaRPr lang="en-GB" dirty="0"/>
          </a:p>
        </p:txBody>
      </p:sp>
      <p:sp>
        <p:nvSpPr>
          <p:cNvPr id="5" name="Text Placeholder 4">
            <a:extLst>
              <a:ext uri="{FF2B5EF4-FFF2-40B4-BE49-F238E27FC236}">
                <a16:creationId xmlns:a16="http://schemas.microsoft.com/office/drawing/2014/main" id="{25A8EF93-AE2E-4784-96F9-C085F6F43D86}"/>
              </a:ext>
            </a:extLst>
          </p:cNvPr>
          <p:cNvSpPr>
            <a:spLocks noGrp="1"/>
          </p:cNvSpPr>
          <p:nvPr>
            <p:ph type="body" idx="1"/>
          </p:nvPr>
        </p:nvSpPr>
        <p:spPr/>
        <p:txBody>
          <a:bodyPr/>
          <a:lstStyle/>
          <a:p>
            <a:r>
              <a:rPr lang="en-GB"/>
              <a:t>Commissioned by DIA to inform the </a:t>
            </a:r>
            <a:br>
              <a:rPr lang="en-GB"/>
            </a:br>
            <a:r>
              <a:rPr lang="en-GB"/>
              <a:t>Three Waters Regulatory Impact Statement</a:t>
            </a:r>
            <a:endParaRPr lang="en-GB" dirty="0"/>
          </a:p>
        </p:txBody>
      </p:sp>
    </p:spTree>
    <p:extLst>
      <p:ext uri="{BB962C8B-B14F-4D97-AF65-F5344CB8AC3E}">
        <p14:creationId xmlns:p14="http://schemas.microsoft.com/office/powerpoint/2010/main" val="1879914435"/>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8CD1DAE-569F-465B-8411-27B9EC3E43D7}"/>
              </a:ext>
            </a:extLst>
          </p:cNvPr>
          <p:cNvSpPr>
            <a:spLocks noGrp="1"/>
          </p:cNvSpPr>
          <p:nvPr>
            <p:ph type="title"/>
          </p:nvPr>
        </p:nvSpPr>
        <p:spPr/>
        <p:txBody>
          <a:bodyPr/>
          <a:lstStyle/>
          <a:p>
            <a:r>
              <a:rPr lang="en-GB"/>
              <a:t>Economic Impact of Reform: Key Highlights</a:t>
            </a:r>
            <a:endParaRPr lang="en-GB" dirty="0"/>
          </a:p>
        </p:txBody>
      </p:sp>
      <p:grpSp>
        <p:nvGrpSpPr>
          <p:cNvPr id="6" name="Group 5">
            <a:extLst>
              <a:ext uri="{FF2B5EF4-FFF2-40B4-BE49-F238E27FC236}">
                <a16:creationId xmlns:a16="http://schemas.microsoft.com/office/drawing/2014/main" id="{4BC409D7-4645-4C07-8A0F-620BB250327F}"/>
              </a:ext>
            </a:extLst>
          </p:cNvPr>
          <p:cNvGrpSpPr/>
          <p:nvPr/>
        </p:nvGrpSpPr>
        <p:grpSpPr>
          <a:xfrm>
            <a:off x="1828125" y="1529229"/>
            <a:ext cx="7662104" cy="4747284"/>
            <a:chOff x="273128" y="3556187"/>
            <a:chExt cx="6393829" cy="4007033"/>
          </a:xfrm>
        </p:grpSpPr>
        <p:grpSp>
          <p:nvGrpSpPr>
            <p:cNvPr id="7" name="Group 6">
              <a:extLst>
                <a:ext uri="{FF2B5EF4-FFF2-40B4-BE49-F238E27FC236}">
                  <a16:creationId xmlns:a16="http://schemas.microsoft.com/office/drawing/2014/main" id="{AFE80687-10DF-4A9E-A5CF-2029F191E85F}"/>
                </a:ext>
              </a:extLst>
            </p:cNvPr>
            <p:cNvGrpSpPr/>
            <p:nvPr/>
          </p:nvGrpSpPr>
          <p:grpSpPr>
            <a:xfrm>
              <a:off x="3674123" y="6001431"/>
              <a:ext cx="2992834" cy="1423307"/>
              <a:chOff x="4306093" y="3151436"/>
              <a:chExt cx="2210203" cy="1039009"/>
            </a:xfrm>
          </p:grpSpPr>
          <p:sp>
            <p:nvSpPr>
              <p:cNvPr id="27" name="Rounded Rectangle 5">
                <a:extLst>
                  <a:ext uri="{FF2B5EF4-FFF2-40B4-BE49-F238E27FC236}">
                    <a16:creationId xmlns:a16="http://schemas.microsoft.com/office/drawing/2014/main" id="{8F47F3AD-AB12-41F0-A9F9-B43CC20A5508}"/>
                  </a:ext>
                </a:extLst>
              </p:cNvPr>
              <p:cNvSpPr/>
              <p:nvPr/>
            </p:nvSpPr>
            <p:spPr>
              <a:xfrm>
                <a:off x="4365866" y="3151436"/>
                <a:ext cx="2144659" cy="1039009"/>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6"/>
              </a:solidFill>
              <a:ln w="12700" cap="flat" cmpd="sng" algn="ctr">
                <a:noFill/>
                <a:prstDash val="solid"/>
              </a:ln>
              <a:effectLst/>
            </p:spPr>
            <p:txBody>
              <a:bodyPr lIns="91440" tIns="91440" rIns="91440" bIns="91440" rtlCol="0" anchor="ctr">
                <a:noAutofit/>
              </a:bodyPr>
              <a:lstStyle/>
              <a:p>
                <a:pPr algn="ctr" defTabSz="914400">
                  <a:defRPr/>
                </a:pPr>
                <a:endParaRPr lang="en-NZ" sz="1400" kern="0" dirty="0">
                  <a:solidFill>
                    <a:srgbClr val="53565A"/>
                  </a:solidFill>
                  <a:latin typeface="Calibri" panose="020F0502020204030204" pitchFamily="34" charset="0"/>
                  <a:cs typeface="Calibri" panose="020F0502020204030204" pitchFamily="34" charset="0"/>
                </a:endParaRPr>
              </a:p>
            </p:txBody>
          </p:sp>
          <p:grpSp>
            <p:nvGrpSpPr>
              <p:cNvPr id="28" name="Group 27">
                <a:extLst>
                  <a:ext uri="{FF2B5EF4-FFF2-40B4-BE49-F238E27FC236}">
                    <a16:creationId xmlns:a16="http://schemas.microsoft.com/office/drawing/2014/main" id="{70C873F8-514D-4498-B089-B571EC077D67}"/>
                  </a:ext>
                </a:extLst>
              </p:cNvPr>
              <p:cNvGrpSpPr/>
              <p:nvPr/>
            </p:nvGrpSpPr>
            <p:grpSpPr>
              <a:xfrm>
                <a:off x="4306093" y="3251295"/>
                <a:ext cx="2210203" cy="582911"/>
                <a:chOff x="8681380" y="3707215"/>
                <a:chExt cx="2210203" cy="582911"/>
              </a:xfrm>
            </p:grpSpPr>
            <p:sp>
              <p:nvSpPr>
                <p:cNvPr id="29" name="Rectangle 28">
                  <a:extLst>
                    <a:ext uri="{FF2B5EF4-FFF2-40B4-BE49-F238E27FC236}">
                      <a16:creationId xmlns:a16="http://schemas.microsoft.com/office/drawing/2014/main" id="{25DF08FF-AEAF-4E01-BE5A-34BABF8F3343}"/>
                    </a:ext>
                  </a:extLst>
                </p:cNvPr>
                <p:cNvSpPr/>
                <p:nvPr/>
              </p:nvSpPr>
              <p:spPr bwMode="gray">
                <a:xfrm>
                  <a:off x="8984904" y="3775723"/>
                  <a:ext cx="1732045" cy="514403"/>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defRPr/>
                  </a:pPr>
                  <a:r>
                    <a:rPr lang="en-NZ" sz="1000" b="1" kern="0" dirty="0">
                      <a:solidFill>
                        <a:prstClr val="white"/>
                      </a:solidFill>
                      <a:latin typeface="Calibri" panose="020F0502020204030204" pitchFamily="34" charset="0"/>
                      <a:cs typeface="Calibri" panose="020F0502020204030204" pitchFamily="34" charset="0"/>
                    </a:rPr>
                    <a:t>Increase in average wages </a:t>
                  </a:r>
                </a:p>
              </p:txBody>
            </p:sp>
            <p:sp>
              <p:nvSpPr>
                <p:cNvPr id="30" name="TextBox 29">
                  <a:extLst>
                    <a:ext uri="{FF2B5EF4-FFF2-40B4-BE49-F238E27FC236}">
                      <a16:creationId xmlns:a16="http://schemas.microsoft.com/office/drawing/2014/main" id="{30B2707C-2409-4151-A2E3-E3B5FA1BDAE0}"/>
                    </a:ext>
                  </a:extLst>
                </p:cNvPr>
                <p:cNvSpPr txBox="1">
                  <a:spLocks noChangeAspect="1"/>
                </p:cNvSpPr>
                <p:nvPr/>
              </p:nvSpPr>
              <p:spPr bwMode="gray">
                <a:xfrm>
                  <a:off x="8681380" y="3707215"/>
                  <a:ext cx="2210203" cy="227570"/>
                </a:xfrm>
                <a:prstGeom prst="rect">
                  <a:avLst/>
                </a:prstGeom>
                <a:noFill/>
              </p:spPr>
              <p:txBody>
                <a:bodyPr wrap="square" lIns="0" tIns="0" rIns="0" bIns="0" rtlCol="0" anchor="ctr">
                  <a:spAutoFit/>
                </a:bodyPr>
                <a:lstStyle/>
                <a:p>
                  <a:pPr algn="ctr" defTabSz="914400">
                    <a:defRPr/>
                  </a:pPr>
                  <a:r>
                    <a:rPr lang="en-NZ" sz="2400" b="1" kern="0" dirty="0">
                      <a:solidFill>
                        <a:srgbClr val="62B5E5"/>
                      </a:solidFill>
                      <a:latin typeface="Calibri" panose="020F0502020204030204" pitchFamily="34" charset="0"/>
                      <a:cs typeface="Calibri" panose="020F0502020204030204" pitchFamily="34" charset="0"/>
                    </a:rPr>
                    <a:t>+</a:t>
                  </a:r>
                  <a:r>
                    <a:rPr lang="en-NZ" sz="2400" b="1" kern="0" dirty="0">
                      <a:solidFill>
                        <a:prstClr val="white"/>
                      </a:solidFill>
                      <a:latin typeface="Calibri" panose="020F0502020204030204" pitchFamily="34" charset="0"/>
                      <a:cs typeface="Calibri" panose="020F0502020204030204" pitchFamily="34" charset="0"/>
                    </a:rPr>
                    <a:t> 0.2% to 0.3%</a:t>
                  </a:r>
                </a:p>
              </p:txBody>
            </p:sp>
          </p:grpSp>
        </p:grpSp>
        <p:sp>
          <p:nvSpPr>
            <p:cNvPr id="8" name="Rounded Rectangle 5">
              <a:extLst>
                <a:ext uri="{FF2B5EF4-FFF2-40B4-BE49-F238E27FC236}">
                  <a16:creationId xmlns:a16="http://schemas.microsoft.com/office/drawing/2014/main" id="{ECDECBAD-A2C3-42E2-BEA4-63C88C691163}"/>
                </a:ext>
              </a:extLst>
            </p:cNvPr>
            <p:cNvSpPr/>
            <p:nvPr/>
          </p:nvSpPr>
          <p:spPr>
            <a:xfrm flipV="1">
              <a:off x="882035" y="6001428"/>
              <a:ext cx="2682576" cy="1423312"/>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97A9"/>
            </a:solidFill>
            <a:ln w="12700" cap="flat" cmpd="sng" algn="ctr">
              <a:noFill/>
              <a:prstDash val="solid"/>
            </a:ln>
            <a:effectLst/>
          </p:spPr>
          <p:txBody>
            <a:bodyPr lIns="91440" tIns="91440" rIns="91440" bIns="91440" rtlCol="0" anchor="ctr">
              <a:noAutofit/>
            </a:bodyPr>
            <a:lstStyle/>
            <a:p>
              <a:pPr algn="ctr" defTabSz="914400">
                <a:defRPr/>
              </a:pPr>
              <a:endParaRPr lang="en-NZ" sz="1400" kern="0" dirty="0">
                <a:solidFill>
                  <a:srgbClr val="53565A"/>
                </a:solidFill>
                <a:latin typeface="Calibri" panose="020F0502020204030204" pitchFamily="34" charset="0"/>
                <a:cs typeface="Calibri" panose="020F0502020204030204" pitchFamily="34" charset="0"/>
              </a:endParaRPr>
            </a:p>
          </p:txBody>
        </p:sp>
        <p:sp>
          <p:nvSpPr>
            <p:cNvPr id="9" name="Rounded Rectangle 5">
              <a:extLst>
                <a:ext uri="{FF2B5EF4-FFF2-40B4-BE49-F238E27FC236}">
                  <a16:creationId xmlns:a16="http://schemas.microsoft.com/office/drawing/2014/main" id="{3C72D347-45B0-4B37-B770-4D1E0B9F902C}"/>
                </a:ext>
              </a:extLst>
            </p:cNvPr>
            <p:cNvSpPr/>
            <p:nvPr/>
          </p:nvSpPr>
          <p:spPr>
            <a:xfrm>
              <a:off x="273128" y="3556187"/>
              <a:ext cx="3294014" cy="2296720"/>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rgbClr val="005587"/>
            </a:solidFill>
            <a:ln w="12700" cap="flat" cmpd="sng" algn="ctr">
              <a:noFill/>
              <a:prstDash val="solid"/>
            </a:ln>
            <a:effectLst/>
          </p:spPr>
          <p:txBody>
            <a:bodyPr lIns="91440" tIns="91440" rIns="91440" bIns="91440" rtlCol="0" anchor="ctr">
              <a:noAutofit/>
            </a:bodyPr>
            <a:lstStyle/>
            <a:p>
              <a:pPr algn="ctr" defTabSz="914400">
                <a:defRPr/>
              </a:pPr>
              <a:endParaRPr lang="en-NZ" sz="1400" kern="0" dirty="0">
                <a:solidFill>
                  <a:srgbClr val="53565A"/>
                </a:solidFill>
                <a:latin typeface="Calibri" panose="020F0502020204030204" pitchFamily="34" charset="0"/>
                <a:cs typeface="Calibri" panose="020F0502020204030204" pitchFamily="34" charset="0"/>
              </a:endParaRPr>
            </a:p>
          </p:txBody>
        </p:sp>
        <p:sp>
          <p:nvSpPr>
            <p:cNvPr id="10" name="TextBox 9">
              <a:extLst>
                <a:ext uri="{FF2B5EF4-FFF2-40B4-BE49-F238E27FC236}">
                  <a16:creationId xmlns:a16="http://schemas.microsoft.com/office/drawing/2014/main" id="{58170F09-58CB-4E45-BC48-E65E50CC202D}"/>
                </a:ext>
              </a:extLst>
            </p:cNvPr>
            <p:cNvSpPr txBox="1">
              <a:spLocks noChangeAspect="1"/>
            </p:cNvSpPr>
            <p:nvPr/>
          </p:nvSpPr>
          <p:spPr bwMode="gray">
            <a:xfrm>
              <a:off x="748124" y="3694696"/>
              <a:ext cx="2580188" cy="311742"/>
            </a:xfrm>
            <a:prstGeom prst="rect">
              <a:avLst/>
            </a:prstGeom>
            <a:noFill/>
          </p:spPr>
          <p:txBody>
            <a:bodyPr wrap="square" lIns="0" tIns="0" rIns="0" bIns="0" rtlCol="0" anchor="ctr">
              <a:spAutoFit/>
            </a:bodyPr>
            <a:lstStyle/>
            <a:p>
              <a:pPr algn="ctr" defTabSz="914400">
                <a:defRPr/>
              </a:pPr>
              <a:r>
                <a:rPr lang="en-NZ" sz="2400" b="1" kern="0" dirty="0">
                  <a:solidFill>
                    <a:prstClr val="white"/>
                  </a:solidFill>
                  <a:latin typeface="Calibri" panose="020F0502020204030204" pitchFamily="34" charset="0"/>
                  <a:cs typeface="Calibri" panose="020F0502020204030204" pitchFamily="34" charset="0"/>
                </a:rPr>
                <a:t>0.3% – 0.5%</a:t>
              </a:r>
            </a:p>
          </p:txBody>
        </p:sp>
        <p:sp>
          <p:nvSpPr>
            <p:cNvPr id="11" name="Rectangle 10">
              <a:extLst>
                <a:ext uri="{FF2B5EF4-FFF2-40B4-BE49-F238E27FC236}">
                  <a16:creationId xmlns:a16="http://schemas.microsoft.com/office/drawing/2014/main" id="{9D10E344-B09B-4D35-88B1-6BBF1963E762}"/>
                </a:ext>
              </a:extLst>
            </p:cNvPr>
            <p:cNvSpPr/>
            <p:nvPr/>
          </p:nvSpPr>
          <p:spPr bwMode="gray">
            <a:xfrm>
              <a:off x="478064" y="4153206"/>
              <a:ext cx="2898374" cy="292345"/>
            </a:xfrm>
            <a:prstGeom prst="rect">
              <a:avLst/>
            </a:prstGeom>
            <a:noFill/>
            <a:ln w="19050" algn="ctr">
              <a:noFill/>
              <a:miter lim="800000"/>
              <a:headEnd/>
              <a:tailEnd/>
            </a:ln>
          </p:spPr>
          <p:txBody>
            <a:bodyPr wrap="square" lIns="88900" tIns="88900" rIns="88900" bIns="88900" rtlCol="0" anchor="ctr"/>
            <a:lstStyle/>
            <a:p>
              <a:pPr algn="ctr" defTabSz="914400">
                <a:lnSpc>
                  <a:spcPts val="1100"/>
                </a:lnSpc>
                <a:buFont typeface="Wingdings 2" pitchFamily="18" charset="2"/>
                <a:buNone/>
                <a:defRPr/>
              </a:pPr>
              <a:r>
                <a:rPr lang="en-NZ" sz="1000" b="1" kern="0" dirty="0">
                  <a:solidFill>
                    <a:srgbClr val="FFFFFF"/>
                  </a:solidFill>
                  <a:latin typeface="Calibri" panose="020F0502020204030204" pitchFamily="34" charset="0"/>
                  <a:cs typeface="Calibri" panose="020F0502020204030204" pitchFamily="34" charset="0"/>
                </a:rPr>
                <a:t>Net change in GDP over 30 years</a:t>
              </a:r>
            </a:p>
          </p:txBody>
        </p:sp>
        <p:sp>
          <p:nvSpPr>
            <p:cNvPr id="12" name="Isosceles Triangle 11">
              <a:extLst>
                <a:ext uri="{FF2B5EF4-FFF2-40B4-BE49-F238E27FC236}">
                  <a16:creationId xmlns:a16="http://schemas.microsoft.com/office/drawing/2014/main" id="{065CBC74-B035-46F5-8CAE-6347C2928FEA}"/>
                </a:ext>
              </a:extLst>
            </p:cNvPr>
            <p:cNvSpPr/>
            <p:nvPr/>
          </p:nvSpPr>
          <p:spPr bwMode="gray">
            <a:xfrm>
              <a:off x="911163" y="3737679"/>
              <a:ext cx="294667" cy="252000"/>
            </a:xfrm>
            <a:prstGeom prst="triangle">
              <a:avLst/>
            </a:prstGeom>
            <a:solidFill>
              <a:srgbClr val="62B5E5"/>
            </a:solidFill>
            <a:ln w="19050" algn="ctr">
              <a:solidFill>
                <a:srgbClr val="62B5E5"/>
              </a:solidFill>
              <a:miter lim="800000"/>
              <a:headEnd/>
              <a:tailEnd/>
            </a:ln>
          </p:spPr>
          <p:txBody>
            <a:bodyPr wrap="square" lIns="88900" tIns="88900" rIns="88900" bIns="88900" rtlCol="0" anchor="ctr"/>
            <a:lstStyle/>
            <a:p>
              <a:pPr marL="0" marR="0" lvl="0" indent="0" algn="ctr" defTabSz="914400" eaLnBrk="1" fontAlgn="auto" latinLnBrk="0" hangingPunct="1">
                <a:lnSpc>
                  <a:spcPct val="106000"/>
                </a:lnSpc>
                <a:spcBef>
                  <a:spcPts val="0"/>
                </a:spcBef>
                <a:spcAft>
                  <a:spcPts val="0"/>
                </a:spcAft>
                <a:buClrTx/>
                <a:buSzTx/>
                <a:buFont typeface="Wingdings 2" pitchFamily="18" charset="2"/>
                <a:buNone/>
                <a:tabLst/>
                <a:defRPr/>
              </a:pPr>
              <a:endParaRPr kumimoji="0" lang="en-NZ" sz="1600" b="1" i="0" u="none" strike="noStrike" kern="0" cap="none" spc="0" normalizeH="0" baseline="0" noProof="0" dirty="0">
                <a:ln>
                  <a:noFill/>
                </a:ln>
                <a:solidFill>
                  <a:srgbClr val="FFFFFF"/>
                </a:solidFill>
                <a:effectLst/>
                <a:uLnTx/>
                <a:uFillTx/>
                <a:latin typeface="Calibri" panose="020F0502020204030204" pitchFamily="34" charset="0"/>
                <a:cs typeface="Calibri" panose="020F0502020204030204" pitchFamily="34" charset="0"/>
              </a:endParaRPr>
            </a:p>
          </p:txBody>
        </p:sp>
        <p:sp>
          <p:nvSpPr>
            <p:cNvPr id="13" name="Freeform 610">
              <a:extLst>
                <a:ext uri="{FF2B5EF4-FFF2-40B4-BE49-F238E27FC236}">
                  <a16:creationId xmlns:a16="http://schemas.microsoft.com/office/drawing/2014/main" id="{33E22430-E498-49F7-BFE3-CE22E2A42B29}"/>
                </a:ext>
              </a:extLst>
            </p:cNvPr>
            <p:cNvSpPr>
              <a:spLocks noChangeAspect="1" noEditPoints="1"/>
            </p:cNvSpPr>
            <p:nvPr/>
          </p:nvSpPr>
          <p:spPr bwMode="auto">
            <a:xfrm>
              <a:off x="1126697" y="6516907"/>
              <a:ext cx="465189" cy="482238"/>
            </a:xfrm>
            <a:custGeom>
              <a:avLst/>
              <a:gdLst>
                <a:gd name="T0" fmla="*/ 277 w 288"/>
                <a:gd name="T1" fmla="*/ 192 h 299"/>
                <a:gd name="T2" fmla="*/ 224 w 288"/>
                <a:gd name="T3" fmla="*/ 192 h 299"/>
                <a:gd name="T4" fmla="*/ 202 w 288"/>
                <a:gd name="T5" fmla="*/ 181 h 299"/>
                <a:gd name="T6" fmla="*/ 213 w 288"/>
                <a:gd name="T7" fmla="*/ 160 h 299"/>
                <a:gd name="T8" fmla="*/ 180 w 288"/>
                <a:gd name="T9" fmla="*/ 149 h 299"/>
                <a:gd name="T10" fmla="*/ 75 w 288"/>
                <a:gd name="T11" fmla="*/ 149 h 299"/>
                <a:gd name="T12" fmla="*/ 0 w 288"/>
                <a:gd name="T13" fmla="*/ 139 h 299"/>
                <a:gd name="T14" fmla="*/ 85 w 288"/>
                <a:gd name="T15" fmla="*/ 128 h 299"/>
                <a:gd name="T16" fmla="*/ 128 w 288"/>
                <a:gd name="T17" fmla="*/ 171 h 299"/>
                <a:gd name="T18" fmla="*/ 170 w 288"/>
                <a:gd name="T19" fmla="*/ 128 h 299"/>
                <a:gd name="T20" fmla="*/ 234 w 288"/>
                <a:gd name="T21" fmla="*/ 160 h 299"/>
                <a:gd name="T22" fmla="*/ 256 w 288"/>
                <a:gd name="T23" fmla="*/ 171 h 299"/>
                <a:gd name="T24" fmla="*/ 202 w 288"/>
                <a:gd name="T25" fmla="*/ 107 h 299"/>
                <a:gd name="T26" fmla="*/ 149 w 288"/>
                <a:gd name="T27" fmla="*/ 96 h 299"/>
                <a:gd name="T28" fmla="*/ 106 w 288"/>
                <a:gd name="T29" fmla="*/ 75 h 299"/>
                <a:gd name="T30" fmla="*/ 96 w 288"/>
                <a:gd name="T31" fmla="*/ 107 h 299"/>
                <a:gd name="T32" fmla="*/ 0 w 288"/>
                <a:gd name="T33" fmla="*/ 96 h 299"/>
                <a:gd name="T34" fmla="*/ 85 w 288"/>
                <a:gd name="T35" fmla="*/ 85 h 299"/>
                <a:gd name="T36" fmla="*/ 96 w 288"/>
                <a:gd name="T37" fmla="*/ 53 h 299"/>
                <a:gd name="T38" fmla="*/ 117 w 288"/>
                <a:gd name="T39" fmla="*/ 21 h 299"/>
                <a:gd name="T40" fmla="*/ 85 w 288"/>
                <a:gd name="T41" fmla="*/ 11 h 299"/>
                <a:gd name="T42" fmla="*/ 160 w 288"/>
                <a:gd name="T43" fmla="*/ 0 h 299"/>
                <a:gd name="T44" fmla="*/ 160 w 288"/>
                <a:gd name="T45" fmla="*/ 21 h 299"/>
                <a:gd name="T46" fmla="*/ 138 w 288"/>
                <a:gd name="T47" fmla="*/ 53 h 299"/>
                <a:gd name="T48" fmla="*/ 170 w 288"/>
                <a:gd name="T49" fmla="*/ 64 h 299"/>
                <a:gd name="T50" fmla="*/ 202 w 288"/>
                <a:gd name="T51" fmla="*/ 85 h 299"/>
                <a:gd name="T52" fmla="*/ 277 w 288"/>
                <a:gd name="T53" fmla="*/ 171 h 299"/>
                <a:gd name="T54" fmla="*/ 275 w 288"/>
                <a:gd name="T55" fmla="*/ 254 h 299"/>
                <a:gd name="T56" fmla="*/ 245 w 288"/>
                <a:gd name="T57" fmla="*/ 299 h 299"/>
                <a:gd name="T58" fmla="*/ 215 w 288"/>
                <a:gd name="T59" fmla="*/ 254 h 299"/>
                <a:gd name="T60" fmla="*/ 236 w 288"/>
                <a:gd name="T61" fmla="*/ 219 h 299"/>
                <a:gd name="T62" fmla="*/ 274 w 288"/>
                <a:gd name="T63" fmla="*/ 253 h 299"/>
                <a:gd name="T64" fmla="*/ 256 w 288"/>
                <a:gd name="T65" fmla="*/ 267 h 299"/>
                <a:gd name="T66" fmla="*/ 245 w 288"/>
                <a:gd name="T67" fmla="*/ 246 h 299"/>
                <a:gd name="T68" fmla="*/ 234 w 288"/>
                <a:gd name="T69" fmla="*/ 267 h 299"/>
                <a:gd name="T70" fmla="*/ 256 w 288"/>
                <a:gd name="T71" fmla="*/ 267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8" h="299">
                  <a:moveTo>
                    <a:pt x="288" y="181"/>
                  </a:moveTo>
                  <a:cubicBezTo>
                    <a:pt x="288" y="187"/>
                    <a:pt x="283" y="192"/>
                    <a:pt x="277" y="192"/>
                  </a:cubicBezTo>
                  <a:cubicBezTo>
                    <a:pt x="266" y="192"/>
                    <a:pt x="266" y="192"/>
                    <a:pt x="266" y="192"/>
                  </a:cubicBezTo>
                  <a:cubicBezTo>
                    <a:pt x="224" y="192"/>
                    <a:pt x="224" y="192"/>
                    <a:pt x="224" y="192"/>
                  </a:cubicBezTo>
                  <a:cubicBezTo>
                    <a:pt x="213" y="192"/>
                    <a:pt x="213" y="192"/>
                    <a:pt x="213" y="192"/>
                  </a:cubicBezTo>
                  <a:cubicBezTo>
                    <a:pt x="207" y="192"/>
                    <a:pt x="202" y="187"/>
                    <a:pt x="202" y="181"/>
                  </a:cubicBezTo>
                  <a:cubicBezTo>
                    <a:pt x="202" y="175"/>
                    <a:pt x="207" y="171"/>
                    <a:pt x="213" y="171"/>
                  </a:cubicBezTo>
                  <a:cubicBezTo>
                    <a:pt x="213" y="160"/>
                    <a:pt x="213" y="160"/>
                    <a:pt x="213" y="160"/>
                  </a:cubicBezTo>
                  <a:cubicBezTo>
                    <a:pt x="213" y="151"/>
                    <a:pt x="207" y="149"/>
                    <a:pt x="202" y="149"/>
                  </a:cubicBezTo>
                  <a:cubicBezTo>
                    <a:pt x="180" y="149"/>
                    <a:pt x="180" y="149"/>
                    <a:pt x="180" y="149"/>
                  </a:cubicBezTo>
                  <a:cubicBezTo>
                    <a:pt x="175" y="174"/>
                    <a:pt x="153" y="192"/>
                    <a:pt x="128" y="192"/>
                  </a:cubicBezTo>
                  <a:cubicBezTo>
                    <a:pt x="102" y="192"/>
                    <a:pt x="80" y="174"/>
                    <a:pt x="75" y="149"/>
                  </a:cubicBezTo>
                  <a:cubicBezTo>
                    <a:pt x="10" y="149"/>
                    <a:pt x="10" y="149"/>
                    <a:pt x="10" y="149"/>
                  </a:cubicBezTo>
                  <a:cubicBezTo>
                    <a:pt x="4" y="149"/>
                    <a:pt x="0" y="145"/>
                    <a:pt x="0" y="139"/>
                  </a:cubicBezTo>
                  <a:cubicBezTo>
                    <a:pt x="0" y="133"/>
                    <a:pt x="4" y="128"/>
                    <a:pt x="10" y="128"/>
                  </a:cubicBezTo>
                  <a:cubicBezTo>
                    <a:pt x="85" y="128"/>
                    <a:pt x="85" y="128"/>
                    <a:pt x="85" y="128"/>
                  </a:cubicBezTo>
                  <a:cubicBezTo>
                    <a:pt x="91" y="128"/>
                    <a:pt x="96" y="133"/>
                    <a:pt x="96" y="139"/>
                  </a:cubicBezTo>
                  <a:cubicBezTo>
                    <a:pt x="96" y="156"/>
                    <a:pt x="110" y="171"/>
                    <a:pt x="128" y="171"/>
                  </a:cubicBezTo>
                  <a:cubicBezTo>
                    <a:pt x="145" y="171"/>
                    <a:pt x="160" y="156"/>
                    <a:pt x="160" y="139"/>
                  </a:cubicBezTo>
                  <a:cubicBezTo>
                    <a:pt x="160" y="133"/>
                    <a:pt x="164" y="128"/>
                    <a:pt x="170" y="128"/>
                  </a:cubicBezTo>
                  <a:cubicBezTo>
                    <a:pt x="202" y="128"/>
                    <a:pt x="202" y="128"/>
                    <a:pt x="202" y="128"/>
                  </a:cubicBezTo>
                  <a:cubicBezTo>
                    <a:pt x="215" y="128"/>
                    <a:pt x="234" y="137"/>
                    <a:pt x="234" y="160"/>
                  </a:cubicBezTo>
                  <a:cubicBezTo>
                    <a:pt x="234" y="171"/>
                    <a:pt x="234" y="171"/>
                    <a:pt x="234" y="171"/>
                  </a:cubicBezTo>
                  <a:cubicBezTo>
                    <a:pt x="256" y="171"/>
                    <a:pt x="256" y="171"/>
                    <a:pt x="256" y="171"/>
                  </a:cubicBezTo>
                  <a:cubicBezTo>
                    <a:pt x="256" y="160"/>
                    <a:pt x="256" y="160"/>
                    <a:pt x="256" y="160"/>
                  </a:cubicBezTo>
                  <a:cubicBezTo>
                    <a:pt x="256" y="155"/>
                    <a:pt x="254" y="107"/>
                    <a:pt x="202" y="107"/>
                  </a:cubicBezTo>
                  <a:cubicBezTo>
                    <a:pt x="160" y="107"/>
                    <a:pt x="160" y="107"/>
                    <a:pt x="160" y="107"/>
                  </a:cubicBezTo>
                  <a:cubicBezTo>
                    <a:pt x="154" y="107"/>
                    <a:pt x="149" y="102"/>
                    <a:pt x="149" y="96"/>
                  </a:cubicBezTo>
                  <a:cubicBezTo>
                    <a:pt x="149" y="75"/>
                    <a:pt x="149" y="75"/>
                    <a:pt x="149" y="75"/>
                  </a:cubicBezTo>
                  <a:cubicBezTo>
                    <a:pt x="106" y="75"/>
                    <a:pt x="106" y="75"/>
                    <a:pt x="106" y="75"/>
                  </a:cubicBezTo>
                  <a:cubicBezTo>
                    <a:pt x="106" y="96"/>
                    <a:pt x="106" y="96"/>
                    <a:pt x="106" y="96"/>
                  </a:cubicBezTo>
                  <a:cubicBezTo>
                    <a:pt x="106" y="102"/>
                    <a:pt x="102" y="107"/>
                    <a:pt x="96" y="107"/>
                  </a:cubicBezTo>
                  <a:cubicBezTo>
                    <a:pt x="10" y="107"/>
                    <a:pt x="10" y="107"/>
                    <a:pt x="10" y="107"/>
                  </a:cubicBezTo>
                  <a:cubicBezTo>
                    <a:pt x="4" y="107"/>
                    <a:pt x="0" y="102"/>
                    <a:pt x="0" y="96"/>
                  </a:cubicBezTo>
                  <a:cubicBezTo>
                    <a:pt x="0" y="90"/>
                    <a:pt x="4" y="85"/>
                    <a:pt x="10" y="85"/>
                  </a:cubicBezTo>
                  <a:cubicBezTo>
                    <a:pt x="85" y="85"/>
                    <a:pt x="85" y="85"/>
                    <a:pt x="85" y="85"/>
                  </a:cubicBezTo>
                  <a:cubicBezTo>
                    <a:pt x="85" y="64"/>
                    <a:pt x="85" y="64"/>
                    <a:pt x="85" y="64"/>
                  </a:cubicBezTo>
                  <a:cubicBezTo>
                    <a:pt x="85" y="58"/>
                    <a:pt x="90" y="53"/>
                    <a:pt x="96" y="53"/>
                  </a:cubicBezTo>
                  <a:cubicBezTo>
                    <a:pt x="117" y="53"/>
                    <a:pt x="117" y="53"/>
                    <a:pt x="117" y="53"/>
                  </a:cubicBezTo>
                  <a:cubicBezTo>
                    <a:pt x="117" y="21"/>
                    <a:pt x="117" y="21"/>
                    <a:pt x="117" y="21"/>
                  </a:cubicBezTo>
                  <a:cubicBezTo>
                    <a:pt x="96" y="21"/>
                    <a:pt x="96" y="21"/>
                    <a:pt x="96" y="21"/>
                  </a:cubicBezTo>
                  <a:cubicBezTo>
                    <a:pt x="90" y="21"/>
                    <a:pt x="85" y="17"/>
                    <a:pt x="85" y="11"/>
                  </a:cubicBezTo>
                  <a:cubicBezTo>
                    <a:pt x="85" y="5"/>
                    <a:pt x="90" y="0"/>
                    <a:pt x="96" y="0"/>
                  </a:cubicBezTo>
                  <a:cubicBezTo>
                    <a:pt x="160" y="0"/>
                    <a:pt x="160" y="0"/>
                    <a:pt x="160" y="0"/>
                  </a:cubicBezTo>
                  <a:cubicBezTo>
                    <a:pt x="166" y="0"/>
                    <a:pt x="170" y="5"/>
                    <a:pt x="170" y="11"/>
                  </a:cubicBezTo>
                  <a:cubicBezTo>
                    <a:pt x="170" y="17"/>
                    <a:pt x="166" y="21"/>
                    <a:pt x="160" y="21"/>
                  </a:cubicBezTo>
                  <a:cubicBezTo>
                    <a:pt x="138" y="21"/>
                    <a:pt x="138" y="21"/>
                    <a:pt x="138" y="21"/>
                  </a:cubicBezTo>
                  <a:cubicBezTo>
                    <a:pt x="138" y="53"/>
                    <a:pt x="138" y="53"/>
                    <a:pt x="138" y="53"/>
                  </a:cubicBezTo>
                  <a:cubicBezTo>
                    <a:pt x="160" y="53"/>
                    <a:pt x="160" y="53"/>
                    <a:pt x="160" y="53"/>
                  </a:cubicBezTo>
                  <a:cubicBezTo>
                    <a:pt x="166" y="53"/>
                    <a:pt x="170" y="58"/>
                    <a:pt x="170" y="64"/>
                  </a:cubicBezTo>
                  <a:cubicBezTo>
                    <a:pt x="170" y="85"/>
                    <a:pt x="170" y="85"/>
                    <a:pt x="170" y="85"/>
                  </a:cubicBezTo>
                  <a:cubicBezTo>
                    <a:pt x="202" y="85"/>
                    <a:pt x="202" y="85"/>
                    <a:pt x="202" y="85"/>
                  </a:cubicBezTo>
                  <a:cubicBezTo>
                    <a:pt x="261" y="85"/>
                    <a:pt x="277" y="134"/>
                    <a:pt x="277" y="160"/>
                  </a:cubicBezTo>
                  <a:cubicBezTo>
                    <a:pt x="277" y="171"/>
                    <a:pt x="277" y="171"/>
                    <a:pt x="277" y="171"/>
                  </a:cubicBezTo>
                  <a:cubicBezTo>
                    <a:pt x="283" y="171"/>
                    <a:pt x="288" y="175"/>
                    <a:pt x="288" y="181"/>
                  </a:cubicBezTo>
                  <a:close/>
                  <a:moveTo>
                    <a:pt x="275" y="254"/>
                  </a:moveTo>
                  <a:cubicBezTo>
                    <a:pt x="276" y="258"/>
                    <a:pt x="277" y="262"/>
                    <a:pt x="277" y="267"/>
                  </a:cubicBezTo>
                  <a:cubicBezTo>
                    <a:pt x="277" y="284"/>
                    <a:pt x="263" y="299"/>
                    <a:pt x="245" y="299"/>
                  </a:cubicBezTo>
                  <a:cubicBezTo>
                    <a:pt x="227" y="299"/>
                    <a:pt x="213" y="284"/>
                    <a:pt x="213" y="267"/>
                  </a:cubicBezTo>
                  <a:cubicBezTo>
                    <a:pt x="213" y="262"/>
                    <a:pt x="214" y="258"/>
                    <a:pt x="215" y="254"/>
                  </a:cubicBezTo>
                  <a:cubicBezTo>
                    <a:pt x="216" y="254"/>
                    <a:pt x="216" y="254"/>
                    <a:pt x="216" y="253"/>
                  </a:cubicBezTo>
                  <a:cubicBezTo>
                    <a:pt x="236" y="219"/>
                    <a:pt x="236" y="219"/>
                    <a:pt x="236" y="219"/>
                  </a:cubicBezTo>
                  <a:cubicBezTo>
                    <a:pt x="240" y="212"/>
                    <a:pt x="250" y="212"/>
                    <a:pt x="254" y="219"/>
                  </a:cubicBezTo>
                  <a:cubicBezTo>
                    <a:pt x="274" y="253"/>
                    <a:pt x="274" y="253"/>
                    <a:pt x="274" y="253"/>
                  </a:cubicBezTo>
                  <a:cubicBezTo>
                    <a:pt x="274" y="254"/>
                    <a:pt x="274" y="254"/>
                    <a:pt x="275" y="254"/>
                  </a:cubicBezTo>
                  <a:close/>
                  <a:moveTo>
                    <a:pt x="256" y="267"/>
                  </a:moveTo>
                  <a:cubicBezTo>
                    <a:pt x="256" y="265"/>
                    <a:pt x="255" y="264"/>
                    <a:pt x="255" y="263"/>
                  </a:cubicBezTo>
                  <a:cubicBezTo>
                    <a:pt x="245" y="246"/>
                    <a:pt x="245" y="246"/>
                    <a:pt x="245" y="246"/>
                  </a:cubicBezTo>
                  <a:cubicBezTo>
                    <a:pt x="235" y="263"/>
                    <a:pt x="235" y="263"/>
                    <a:pt x="235" y="263"/>
                  </a:cubicBezTo>
                  <a:cubicBezTo>
                    <a:pt x="235" y="264"/>
                    <a:pt x="234" y="265"/>
                    <a:pt x="234" y="267"/>
                  </a:cubicBezTo>
                  <a:cubicBezTo>
                    <a:pt x="234" y="273"/>
                    <a:pt x="239" y="277"/>
                    <a:pt x="245" y="277"/>
                  </a:cubicBezTo>
                  <a:cubicBezTo>
                    <a:pt x="251" y="277"/>
                    <a:pt x="256" y="273"/>
                    <a:pt x="256" y="267"/>
                  </a:cubicBezTo>
                  <a:close/>
                </a:path>
              </a:pathLst>
            </a:custGeom>
            <a:solidFill>
              <a:srgbClr val="FFFFFF"/>
            </a:solidFill>
            <a:ln>
              <a:noFill/>
            </a:ln>
            <a:extLst>
              <a:ext uri="{91240B29-F687-4f45-9708-019B960494DF}">
                <a14:hiddenLine xmlns:a14="http://schemas.microsoft.com/office/drawing/2010/main" xmlns:p14="http://schemas.microsoft.com/office/powerpoint/2010/main" xmlns:a16="http://schemas.microsoft.com/office/drawing/2014/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Calibri" panose="020F0502020204030204" pitchFamily="34" charset="0"/>
                <a:cs typeface="Calibri" panose="020F0502020204030204" pitchFamily="34" charset="0"/>
              </a:endParaRPr>
            </a:p>
          </p:txBody>
        </p:sp>
        <p:grpSp>
          <p:nvGrpSpPr>
            <p:cNvPr id="14" name="Group 13">
              <a:extLst>
                <a:ext uri="{FF2B5EF4-FFF2-40B4-BE49-F238E27FC236}">
                  <a16:creationId xmlns:a16="http://schemas.microsoft.com/office/drawing/2014/main" id="{F8AABF9B-A8CE-4D91-86EA-C70D693A5994}"/>
                </a:ext>
              </a:extLst>
            </p:cNvPr>
            <p:cNvGrpSpPr/>
            <p:nvPr/>
          </p:nvGrpSpPr>
          <p:grpSpPr>
            <a:xfrm>
              <a:off x="1575848" y="6431799"/>
              <a:ext cx="1934268" cy="618031"/>
              <a:chOff x="7762291" y="2534409"/>
              <a:chExt cx="1888498" cy="579472"/>
            </a:xfrm>
          </p:grpSpPr>
          <p:sp>
            <p:nvSpPr>
              <p:cNvPr id="25" name="Rectangle 24">
                <a:extLst>
                  <a:ext uri="{FF2B5EF4-FFF2-40B4-BE49-F238E27FC236}">
                    <a16:creationId xmlns:a16="http://schemas.microsoft.com/office/drawing/2014/main" id="{BEA1F019-ACAE-4AA4-A460-5B4F008ED83E}"/>
                  </a:ext>
                </a:extLst>
              </p:cNvPr>
              <p:cNvSpPr/>
              <p:nvPr/>
            </p:nvSpPr>
            <p:spPr bwMode="gray">
              <a:xfrm>
                <a:off x="7762291" y="2840285"/>
                <a:ext cx="1888498" cy="273596"/>
              </a:xfrm>
              <a:prstGeom prst="rect">
                <a:avLst/>
              </a:prstGeom>
              <a:noFill/>
              <a:ln w="19050" algn="ctr">
                <a:noFill/>
                <a:miter lim="800000"/>
                <a:headEnd/>
                <a:tailEnd/>
              </a:ln>
            </p:spPr>
            <p:txBody>
              <a:bodyPr wrap="square" lIns="0" tIns="88900" rIns="0" bIns="88900" rtlCol="0" anchor="ctr"/>
              <a:lstStyle/>
              <a:p>
                <a:pPr algn="ctr" defTabSz="914400">
                  <a:lnSpc>
                    <a:spcPts val="1100"/>
                  </a:lnSpc>
                  <a:defRPr/>
                </a:pPr>
                <a:r>
                  <a:rPr lang="en-NZ" sz="1000" b="1" kern="0" dirty="0">
                    <a:solidFill>
                      <a:prstClr val="white"/>
                    </a:solidFill>
                    <a:latin typeface="Calibri" panose="020F0502020204030204" pitchFamily="34" charset="0"/>
                    <a:cs typeface="Calibri" panose="020F0502020204030204" pitchFamily="34" charset="0"/>
                  </a:rPr>
                  <a:t>Present value increase in GDP</a:t>
                </a:r>
              </a:p>
            </p:txBody>
          </p:sp>
          <p:sp>
            <p:nvSpPr>
              <p:cNvPr id="26" name="TextBox 25">
                <a:extLst>
                  <a:ext uri="{FF2B5EF4-FFF2-40B4-BE49-F238E27FC236}">
                    <a16:creationId xmlns:a16="http://schemas.microsoft.com/office/drawing/2014/main" id="{9CAFBD2B-DE28-451E-BC35-05649525E966}"/>
                  </a:ext>
                </a:extLst>
              </p:cNvPr>
              <p:cNvSpPr txBox="1">
                <a:spLocks noChangeAspect="1"/>
              </p:cNvSpPr>
              <p:nvPr/>
            </p:nvSpPr>
            <p:spPr bwMode="gray">
              <a:xfrm>
                <a:off x="7793609" y="2534409"/>
                <a:ext cx="1707005" cy="292292"/>
              </a:xfrm>
              <a:prstGeom prst="rect">
                <a:avLst/>
              </a:prstGeom>
              <a:noFill/>
            </p:spPr>
            <p:txBody>
              <a:bodyPr wrap="square" lIns="0" tIns="0" rIns="0" bIns="0" rtlCol="0" anchor="ctr">
                <a:spAutoFit/>
              </a:bodyPr>
              <a:lstStyle/>
              <a:p>
                <a:pPr algn="ctr" defTabSz="914400">
                  <a:defRPr/>
                </a:pPr>
                <a:r>
                  <a:rPr lang="en-NZ" sz="2400" b="1" kern="0" dirty="0">
                    <a:solidFill>
                      <a:prstClr val="white"/>
                    </a:solidFill>
                    <a:latin typeface="Calibri" panose="020F0502020204030204" pitchFamily="34" charset="0"/>
                    <a:cs typeface="Calibri" panose="020F0502020204030204" pitchFamily="34" charset="0"/>
                  </a:rPr>
                  <a:t>$14b - $23b</a:t>
                </a:r>
              </a:p>
            </p:txBody>
          </p:sp>
        </p:grpSp>
        <p:graphicFrame>
          <p:nvGraphicFramePr>
            <p:cNvPr id="15" name="Chart 14">
              <a:extLst>
                <a:ext uri="{FF2B5EF4-FFF2-40B4-BE49-F238E27FC236}">
                  <a16:creationId xmlns:a16="http://schemas.microsoft.com/office/drawing/2014/main" id="{4791C880-0268-4E6A-A708-A4C8D64C3F47}"/>
                </a:ext>
              </a:extLst>
            </p:cNvPr>
            <p:cNvGraphicFramePr>
              <a:graphicFrameLocks/>
            </p:cNvGraphicFramePr>
            <p:nvPr>
              <p:extLst>
                <p:ext uri="{D42A27DB-BD31-4B8C-83A1-F6EECF244321}">
                  <p14:modId xmlns:p14="http://schemas.microsoft.com/office/powerpoint/2010/main" val="267290114"/>
                </p:ext>
              </p:extLst>
            </p:nvPr>
          </p:nvGraphicFramePr>
          <p:xfrm>
            <a:off x="404074" y="4230799"/>
            <a:ext cx="3021558" cy="1555075"/>
          </p:xfrm>
          <a:graphic>
            <a:graphicData uri="http://schemas.openxmlformats.org/drawingml/2006/chart">
              <c:chart xmlns:c="http://schemas.openxmlformats.org/drawingml/2006/chart" xmlns:r="http://schemas.openxmlformats.org/officeDocument/2006/relationships" r:id="rId2"/>
            </a:graphicData>
          </a:graphic>
        </p:graphicFrame>
        <p:sp>
          <p:nvSpPr>
            <p:cNvPr id="16" name="TextBox 15">
              <a:extLst>
                <a:ext uri="{FF2B5EF4-FFF2-40B4-BE49-F238E27FC236}">
                  <a16:creationId xmlns:a16="http://schemas.microsoft.com/office/drawing/2014/main" id="{FAF86FDA-CB43-49BF-8AF2-EDC9E2DC4C01}"/>
                </a:ext>
              </a:extLst>
            </p:cNvPr>
            <p:cNvSpPr txBox="1">
              <a:spLocks noChangeAspect="1"/>
            </p:cNvSpPr>
            <p:nvPr/>
          </p:nvSpPr>
          <p:spPr bwMode="gray">
            <a:xfrm>
              <a:off x="4141989" y="6785043"/>
              <a:ext cx="2044860" cy="311742"/>
            </a:xfrm>
            <a:prstGeom prst="rect">
              <a:avLst/>
            </a:prstGeom>
            <a:noFill/>
          </p:spPr>
          <p:txBody>
            <a:bodyPr wrap="square" lIns="0" tIns="0" rIns="0" bIns="0" rtlCol="0" anchor="ctr">
              <a:spAutoFit/>
            </a:bodyPr>
            <a:lstStyle/>
            <a:p>
              <a:pPr algn="ctr" defTabSz="914400">
                <a:defRPr/>
              </a:pPr>
              <a:r>
                <a:rPr lang="en-NZ" sz="2400" b="1" kern="0" dirty="0">
                  <a:solidFill>
                    <a:srgbClr val="62B5E5"/>
                  </a:solidFill>
                  <a:latin typeface="Calibri" panose="020F0502020204030204" pitchFamily="34" charset="0"/>
                  <a:cs typeface="Calibri" panose="020F0502020204030204" pitchFamily="34" charset="0"/>
                </a:rPr>
                <a:t>+</a:t>
              </a:r>
              <a:r>
                <a:rPr lang="en-NZ" sz="2400" b="1" kern="0" dirty="0">
                  <a:solidFill>
                    <a:prstClr val="white"/>
                  </a:solidFill>
                  <a:latin typeface="Calibri" panose="020F0502020204030204" pitchFamily="34" charset="0"/>
                  <a:cs typeface="Calibri" panose="020F0502020204030204" pitchFamily="34" charset="0"/>
                </a:rPr>
                <a:t> $4b to $6b</a:t>
              </a:r>
            </a:p>
          </p:txBody>
        </p:sp>
        <p:sp>
          <p:nvSpPr>
            <p:cNvPr id="17" name="Rectangle 16">
              <a:extLst>
                <a:ext uri="{FF2B5EF4-FFF2-40B4-BE49-F238E27FC236}">
                  <a16:creationId xmlns:a16="http://schemas.microsoft.com/office/drawing/2014/main" id="{75DEA677-2A4F-4CE2-AEF8-9CFE7DE816DF}"/>
                </a:ext>
              </a:extLst>
            </p:cNvPr>
            <p:cNvSpPr/>
            <p:nvPr/>
          </p:nvSpPr>
          <p:spPr bwMode="gray">
            <a:xfrm>
              <a:off x="1225488" y="3985728"/>
              <a:ext cx="1685365" cy="215494"/>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pPr>
              <a:r>
                <a:rPr lang="en-NZ" sz="1000" dirty="0">
                  <a:solidFill>
                    <a:srgbClr val="FFFFFF"/>
                  </a:solidFill>
                  <a:latin typeface="Calibri" panose="020F0502020204030204" pitchFamily="34" charset="0"/>
                  <a:cs typeface="Calibri" panose="020F0502020204030204" pitchFamily="34" charset="0"/>
                </a:rPr>
                <a:t>On average, each year</a:t>
              </a:r>
              <a:endParaRPr lang="en-NZ" sz="1000" dirty="0" err="1">
                <a:solidFill>
                  <a:srgbClr val="FFFFFF"/>
                </a:solidFill>
                <a:latin typeface="Calibri" panose="020F0502020204030204" pitchFamily="34" charset="0"/>
                <a:cs typeface="Calibri" panose="020F0502020204030204" pitchFamily="34" charset="0"/>
              </a:endParaRPr>
            </a:p>
          </p:txBody>
        </p:sp>
        <p:sp>
          <p:nvSpPr>
            <p:cNvPr id="18" name="Rounded Rectangle 5">
              <a:extLst>
                <a:ext uri="{FF2B5EF4-FFF2-40B4-BE49-F238E27FC236}">
                  <a16:creationId xmlns:a16="http://schemas.microsoft.com/office/drawing/2014/main" id="{C4D7635E-2180-4A78-9772-157569364580}"/>
                </a:ext>
              </a:extLst>
            </p:cNvPr>
            <p:cNvSpPr/>
            <p:nvPr/>
          </p:nvSpPr>
          <p:spPr>
            <a:xfrm flipV="1">
              <a:off x="3755062" y="4024895"/>
              <a:ext cx="2911895" cy="1825579"/>
            </a:xfrm>
            <a:custGeom>
              <a:avLst/>
              <a:gdLst>
                <a:gd name="connsiteX0" fmla="*/ 0 w 2354580"/>
                <a:gd name="connsiteY0" fmla="*/ 398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398782 h 1432560"/>
                <a:gd name="connsiteX0" fmla="*/ 0 w 2362200"/>
                <a:gd name="connsiteY0" fmla="*/ 102717 h 1517495"/>
                <a:gd name="connsiteX1" fmla="*/ 406402 w 2362200"/>
                <a:gd name="connsiteY1" fmla="*/ 84935 h 1517495"/>
                <a:gd name="connsiteX2" fmla="*/ 1963418 w 2362200"/>
                <a:gd name="connsiteY2" fmla="*/ 84935 h 1517495"/>
                <a:gd name="connsiteX3" fmla="*/ 2362200 w 2362200"/>
                <a:gd name="connsiteY3" fmla="*/ 483717 h 1517495"/>
                <a:gd name="connsiteX4" fmla="*/ 2362200 w 2362200"/>
                <a:gd name="connsiteY4" fmla="*/ 1118713 h 1517495"/>
                <a:gd name="connsiteX5" fmla="*/ 1963418 w 2362200"/>
                <a:gd name="connsiteY5" fmla="*/ 1517495 h 1517495"/>
                <a:gd name="connsiteX6" fmla="*/ 406402 w 2362200"/>
                <a:gd name="connsiteY6" fmla="*/ 1517495 h 1517495"/>
                <a:gd name="connsiteX7" fmla="*/ 7620 w 2362200"/>
                <a:gd name="connsiteY7" fmla="*/ 1118713 h 1517495"/>
                <a:gd name="connsiteX8" fmla="*/ 0 w 2362200"/>
                <a:gd name="connsiteY8" fmla="*/ 102717 h 1517495"/>
                <a:gd name="connsiteX0" fmla="*/ 0 w 2362200"/>
                <a:gd name="connsiteY0" fmla="*/ 1778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17782 h 1432560"/>
                <a:gd name="connsiteX0" fmla="*/ 0 w 2362200"/>
                <a:gd name="connsiteY0" fmla="*/ 2542 h 1432560"/>
                <a:gd name="connsiteX1" fmla="*/ 406402 w 2362200"/>
                <a:gd name="connsiteY1" fmla="*/ 0 h 1432560"/>
                <a:gd name="connsiteX2" fmla="*/ 1963418 w 2362200"/>
                <a:gd name="connsiteY2" fmla="*/ 0 h 1432560"/>
                <a:gd name="connsiteX3" fmla="*/ 2362200 w 2362200"/>
                <a:gd name="connsiteY3" fmla="*/ 398782 h 1432560"/>
                <a:gd name="connsiteX4" fmla="*/ 2362200 w 2362200"/>
                <a:gd name="connsiteY4" fmla="*/ 1033778 h 1432560"/>
                <a:gd name="connsiteX5" fmla="*/ 1963418 w 2362200"/>
                <a:gd name="connsiteY5" fmla="*/ 1432560 h 1432560"/>
                <a:gd name="connsiteX6" fmla="*/ 406402 w 2362200"/>
                <a:gd name="connsiteY6" fmla="*/ 1432560 h 1432560"/>
                <a:gd name="connsiteX7" fmla="*/ 7620 w 2362200"/>
                <a:gd name="connsiteY7" fmla="*/ 1033778 h 1432560"/>
                <a:gd name="connsiteX8" fmla="*/ 0 w 2362200"/>
                <a:gd name="connsiteY8" fmla="*/ 2542 h 1432560"/>
                <a:gd name="connsiteX0" fmla="*/ 0 w 2354580"/>
                <a:gd name="connsiteY0" fmla="*/ 17782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0 w 2354580"/>
                <a:gd name="connsiteY8" fmla="*/ 17782 h 1432560"/>
                <a:gd name="connsiteX0" fmla="*/ 0 w 2354580"/>
                <a:gd name="connsiteY0" fmla="*/ 0 h 1433828"/>
                <a:gd name="connsiteX1" fmla="*/ 398782 w 2354580"/>
                <a:gd name="connsiteY1" fmla="*/ 1268 h 1433828"/>
                <a:gd name="connsiteX2" fmla="*/ 1955798 w 2354580"/>
                <a:gd name="connsiteY2" fmla="*/ 1268 h 1433828"/>
                <a:gd name="connsiteX3" fmla="*/ 2354580 w 2354580"/>
                <a:gd name="connsiteY3" fmla="*/ 400050 h 1433828"/>
                <a:gd name="connsiteX4" fmla="*/ 2354580 w 2354580"/>
                <a:gd name="connsiteY4" fmla="*/ 1035046 h 1433828"/>
                <a:gd name="connsiteX5" fmla="*/ 1955798 w 2354580"/>
                <a:gd name="connsiteY5" fmla="*/ 1433828 h 1433828"/>
                <a:gd name="connsiteX6" fmla="*/ 398782 w 2354580"/>
                <a:gd name="connsiteY6" fmla="*/ 1433828 h 1433828"/>
                <a:gd name="connsiteX7" fmla="*/ 0 w 2354580"/>
                <a:gd name="connsiteY7" fmla="*/ 1035046 h 1433828"/>
                <a:gd name="connsiteX8" fmla="*/ 0 w 2354580"/>
                <a:gd name="connsiteY8" fmla="*/ 0 h 1433828"/>
                <a:gd name="connsiteX0" fmla="*/ 4763 w 2354580"/>
                <a:gd name="connsiteY0" fmla="*/ 3494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3494 h 1432560"/>
                <a:gd name="connsiteX0" fmla="*/ 2382 w 2354580"/>
                <a:gd name="connsiteY0" fmla="*/ 0 h 1436210"/>
                <a:gd name="connsiteX1" fmla="*/ 398782 w 2354580"/>
                <a:gd name="connsiteY1" fmla="*/ 3650 h 1436210"/>
                <a:gd name="connsiteX2" fmla="*/ 1955798 w 2354580"/>
                <a:gd name="connsiteY2" fmla="*/ 3650 h 1436210"/>
                <a:gd name="connsiteX3" fmla="*/ 2354580 w 2354580"/>
                <a:gd name="connsiteY3" fmla="*/ 402432 h 1436210"/>
                <a:gd name="connsiteX4" fmla="*/ 2354580 w 2354580"/>
                <a:gd name="connsiteY4" fmla="*/ 1037428 h 1436210"/>
                <a:gd name="connsiteX5" fmla="*/ 1955798 w 2354580"/>
                <a:gd name="connsiteY5" fmla="*/ 1436210 h 1436210"/>
                <a:gd name="connsiteX6" fmla="*/ 398782 w 2354580"/>
                <a:gd name="connsiteY6" fmla="*/ 1436210 h 1436210"/>
                <a:gd name="connsiteX7" fmla="*/ 0 w 2354580"/>
                <a:gd name="connsiteY7" fmla="*/ 1037428 h 1436210"/>
                <a:gd name="connsiteX8" fmla="*/ 2382 w 2354580"/>
                <a:gd name="connsiteY8" fmla="*/ 0 h 1436210"/>
                <a:gd name="connsiteX0" fmla="*/ 4763 w 2354580"/>
                <a:gd name="connsiteY0" fmla="*/ 5875 h 1432560"/>
                <a:gd name="connsiteX1" fmla="*/ 398782 w 2354580"/>
                <a:gd name="connsiteY1" fmla="*/ 0 h 1432560"/>
                <a:gd name="connsiteX2" fmla="*/ 1955798 w 2354580"/>
                <a:gd name="connsiteY2" fmla="*/ 0 h 1432560"/>
                <a:gd name="connsiteX3" fmla="*/ 2354580 w 2354580"/>
                <a:gd name="connsiteY3" fmla="*/ 398782 h 1432560"/>
                <a:gd name="connsiteX4" fmla="*/ 2354580 w 2354580"/>
                <a:gd name="connsiteY4" fmla="*/ 1033778 h 1432560"/>
                <a:gd name="connsiteX5" fmla="*/ 1955798 w 2354580"/>
                <a:gd name="connsiteY5" fmla="*/ 1432560 h 1432560"/>
                <a:gd name="connsiteX6" fmla="*/ 398782 w 2354580"/>
                <a:gd name="connsiteY6" fmla="*/ 1432560 h 1432560"/>
                <a:gd name="connsiteX7" fmla="*/ 0 w 2354580"/>
                <a:gd name="connsiteY7" fmla="*/ 1033778 h 1432560"/>
                <a:gd name="connsiteX8" fmla="*/ 4763 w 2354580"/>
                <a:gd name="connsiteY8" fmla="*/ 5875 h 1432560"/>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354580"/>
                <a:gd name="connsiteY0" fmla="*/ 0 h 1433829"/>
                <a:gd name="connsiteX1" fmla="*/ 398782 w 2354580"/>
                <a:gd name="connsiteY1" fmla="*/ 1269 h 1433829"/>
                <a:gd name="connsiteX2" fmla="*/ 1955798 w 2354580"/>
                <a:gd name="connsiteY2" fmla="*/ 1269 h 1433829"/>
                <a:gd name="connsiteX3" fmla="*/ 2354580 w 2354580"/>
                <a:gd name="connsiteY3" fmla="*/ 400051 h 1433829"/>
                <a:gd name="connsiteX4" fmla="*/ 2354580 w 2354580"/>
                <a:gd name="connsiteY4" fmla="*/ 1035047 h 1433829"/>
                <a:gd name="connsiteX5" fmla="*/ 1955798 w 2354580"/>
                <a:gd name="connsiteY5" fmla="*/ 1433829 h 1433829"/>
                <a:gd name="connsiteX6" fmla="*/ 398782 w 2354580"/>
                <a:gd name="connsiteY6" fmla="*/ 1433829 h 1433829"/>
                <a:gd name="connsiteX7" fmla="*/ 0 w 2354580"/>
                <a:gd name="connsiteY7" fmla="*/ 1035047 h 1433829"/>
                <a:gd name="connsiteX8" fmla="*/ 4763 w 2354580"/>
                <a:gd name="connsiteY8" fmla="*/ 0 h 1433829"/>
                <a:gd name="connsiteX0" fmla="*/ 4763 w 2432776"/>
                <a:gd name="connsiteY0" fmla="*/ 0 h 1433829"/>
                <a:gd name="connsiteX1" fmla="*/ 398782 w 2432776"/>
                <a:gd name="connsiteY1" fmla="*/ 1269 h 1433829"/>
                <a:gd name="connsiteX2" fmla="*/ 1955798 w 2432776"/>
                <a:gd name="connsiteY2" fmla="*/ 1269 h 1433829"/>
                <a:gd name="connsiteX3" fmla="*/ 2354580 w 2432776"/>
                <a:gd name="connsiteY3" fmla="*/ 400051 h 1433829"/>
                <a:gd name="connsiteX4" fmla="*/ 2354580 w 2432776"/>
                <a:gd name="connsiteY4" fmla="*/ 1035047 h 1433829"/>
                <a:gd name="connsiteX5" fmla="*/ 2327273 w 2432776"/>
                <a:gd name="connsiteY5" fmla="*/ 1433829 h 1433829"/>
                <a:gd name="connsiteX6" fmla="*/ 398782 w 2432776"/>
                <a:gd name="connsiteY6" fmla="*/ 1433829 h 1433829"/>
                <a:gd name="connsiteX7" fmla="*/ 0 w 2432776"/>
                <a:gd name="connsiteY7" fmla="*/ 1035047 h 1433829"/>
                <a:gd name="connsiteX8" fmla="*/ 4763 w 2432776"/>
                <a:gd name="connsiteY8" fmla="*/ 0 h 1433829"/>
                <a:gd name="connsiteX0" fmla="*/ 4763 w 2441222"/>
                <a:gd name="connsiteY0" fmla="*/ 0 h 1433829"/>
                <a:gd name="connsiteX1" fmla="*/ 398782 w 2441222"/>
                <a:gd name="connsiteY1" fmla="*/ 1269 h 1433829"/>
                <a:gd name="connsiteX2" fmla="*/ 1955798 w 2441222"/>
                <a:gd name="connsiteY2" fmla="*/ 1269 h 1433829"/>
                <a:gd name="connsiteX3" fmla="*/ 2354580 w 2441222"/>
                <a:gd name="connsiteY3" fmla="*/ 400051 h 1433829"/>
                <a:gd name="connsiteX4" fmla="*/ 2354580 w 2441222"/>
                <a:gd name="connsiteY4" fmla="*/ 1035047 h 1433829"/>
                <a:gd name="connsiteX5" fmla="*/ 2339179 w 2441222"/>
                <a:gd name="connsiteY5" fmla="*/ 1431447 h 1433829"/>
                <a:gd name="connsiteX6" fmla="*/ 398782 w 2441222"/>
                <a:gd name="connsiteY6" fmla="*/ 1433829 h 1433829"/>
                <a:gd name="connsiteX7" fmla="*/ 0 w 2441222"/>
                <a:gd name="connsiteY7" fmla="*/ 1035047 h 1433829"/>
                <a:gd name="connsiteX8" fmla="*/ 4763 w 2441222"/>
                <a:gd name="connsiteY8" fmla="*/ 0 h 1433829"/>
                <a:gd name="connsiteX0" fmla="*/ 4763 w 2449885"/>
                <a:gd name="connsiteY0" fmla="*/ 0 h 1433829"/>
                <a:gd name="connsiteX1" fmla="*/ 398782 w 2449885"/>
                <a:gd name="connsiteY1" fmla="*/ 1269 h 1433829"/>
                <a:gd name="connsiteX2" fmla="*/ 1955798 w 2449885"/>
                <a:gd name="connsiteY2" fmla="*/ 1269 h 1433829"/>
                <a:gd name="connsiteX3" fmla="*/ 2354580 w 2449885"/>
                <a:gd name="connsiteY3" fmla="*/ 400051 h 1433829"/>
                <a:gd name="connsiteX4" fmla="*/ 2354580 w 2449885"/>
                <a:gd name="connsiteY4" fmla="*/ 1035047 h 1433829"/>
                <a:gd name="connsiteX5" fmla="*/ 2351086 w 2449885"/>
                <a:gd name="connsiteY5" fmla="*/ 1433828 h 1433829"/>
                <a:gd name="connsiteX6" fmla="*/ 398782 w 2449885"/>
                <a:gd name="connsiteY6" fmla="*/ 1433829 h 1433829"/>
                <a:gd name="connsiteX7" fmla="*/ 0 w 2449885"/>
                <a:gd name="connsiteY7" fmla="*/ 1035047 h 1433829"/>
                <a:gd name="connsiteX8" fmla="*/ 4763 w 2449885"/>
                <a:gd name="connsiteY8" fmla="*/ 0 h 1433829"/>
                <a:gd name="connsiteX0" fmla="*/ 4763 w 2355967"/>
                <a:gd name="connsiteY0" fmla="*/ 0 h 1433829"/>
                <a:gd name="connsiteX1" fmla="*/ 398782 w 2355967"/>
                <a:gd name="connsiteY1" fmla="*/ 1269 h 1433829"/>
                <a:gd name="connsiteX2" fmla="*/ 1955798 w 2355967"/>
                <a:gd name="connsiteY2" fmla="*/ 1269 h 1433829"/>
                <a:gd name="connsiteX3" fmla="*/ 2354580 w 2355967"/>
                <a:gd name="connsiteY3" fmla="*/ 400051 h 1433829"/>
                <a:gd name="connsiteX4" fmla="*/ 2354580 w 2355967"/>
                <a:gd name="connsiteY4" fmla="*/ 1035047 h 1433829"/>
                <a:gd name="connsiteX5" fmla="*/ 2351086 w 2355967"/>
                <a:gd name="connsiteY5" fmla="*/ 1433828 h 1433829"/>
                <a:gd name="connsiteX6" fmla="*/ 398782 w 2355967"/>
                <a:gd name="connsiteY6" fmla="*/ 1433829 h 1433829"/>
                <a:gd name="connsiteX7" fmla="*/ 0 w 2355967"/>
                <a:gd name="connsiteY7" fmla="*/ 1035047 h 1433829"/>
                <a:gd name="connsiteX8" fmla="*/ 4763 w 2355967"/>
                <a:gd name="connsiteY8" fmla="*/ 0 h 14338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55967" h="1433829">
                  <a:moveTo>
                    <a:pt x="4763" y="0"/>
                  </a:moveTo>
                  <a:cubicBezTo>
                    <a:pt x="30957" y="1215"/>
                    <a:pt x="178541" y="1269"/>
                    <a:pt x="398782" y="1269"/>
                  </a:cubicBezTo>
                  <a:lnTo>
                    <a:pt x="1955798" y="1269"/>
                  </a:lnTo>
                  <a:cubicBezTo>
                    <a:pt x="2176039" y="1269"/>
                    <a:pt x="2354580" y="179810"/>
                    <a:pt x="2354580" y="400051"/>
                  </a:cubicBezTo>
                  <a:lnTo>
                    <a:pt x="2354580" y="1035047"/>
                  </a:lnTo>
                  <a:cubicBezTo>
                    <a:pt x="2354580" y="1255288"/>
                    <a:pt x="2359396" y="1431446"/>
                    <a:pt x="2351086" y="1433828"/>
                  </a:cubicBezTo>
                  <a:lnTo>
                    <a:pt x="398782" y="1433829"/>
                  </a:lnTo>
                  <a:cubicBezTo>
                    <a:pt x="178541" y="1433829"/>
                    <a:pt x="0" y="1255288"/>
                    <a:pt x="0" y="1035047"/>
                  </a:cubicBezTo>
                  <a:cubicBezTo>
                    <a:pt x="1588" y="691619"/>
                    <a:pt x="3175" y="343428"/>
                    <a:pt x="4763" y="0"/>
                  </a:cubicBezTo>
                  <a:close/>
                </a:path>
              </a:pathLst>
            </a:custGeom>
            <a:solidFill>
              <a:schemeClr val="accent4"/>
            </a:solidFill>
            <a:ln w="12700" cap="flat" cmpd="sng" algn="ctr">
              <a:noFill/>
              <a:prstDash val="solid"/>
            </a:ln>
            <a:effectLst/>
          </p:spPr>
          <p:txBody>
            <a:bodyPr lIns="91440" tIns="91440" rIns="91440" bIns="91440" rtlCol="0" anchor="ctr">
              <a:noAutofit/>
            </a:bodyPr>
            <a:lstStyle/>
            <a:p>
              <a:pPr algn="ctr" defTabSz="914400">
                <a:defRPr/>
              </a:pPr>
              <a:endParaRPr lang="en-NZ" sz="1400" kern="0" dirty="0">
                <a:solidFill>
                  <a:srgbClr val="53565A"/>
                </a:solidFill>
                <a:latin typeface="Calibri" panose="020F0502020204030204" pitchFamily="34" charset="0"/>
                <a:cs typeface="Calibri" panose="020F0502020204030204" pitchFamily="34" charset="0"/>
              </a:endParaRPr>
            </a:p>
          </p:txBody>
        </p:sp>
        <p:grpSp>
          <p:nvGrpSpPr>
            <p:cNvPr id="19" name="Group 18">
              <a:extLst>
                <a:ext uri="{FF2B5EF4-FFF2-40B4-BE49-F238E27FC236}">
                  <a16:creationId xmlns:a16="http://schemas.microsoft.com/office/drawing/2014/main" id="{1B534E7D-1EF2-4D6B-993C-F06AB3CF9EF2}"/>
                </a:ext>
              </a:extLst>
            </p:cNvPr>
            <p:cNvGrpSpPr>
              <a:grpSpLocks noChangeAspect="1"/>
            </p:cNvGrpSpPr>
            <p:nvPr/>
          </p:nvGrpSpPr>
          <p:grpSpPr>
            <a:xfrm>
              <a:off x="4789781" y="4153206"/>
              <a:ext cx="936047" cy="725168"/>
              <a:chOff x="6616688" y="3501369"/>
              <a:chExt cx="554395" cy="409419"/>
            </a:xfrm>
          </p:grpSpPr>
          <p:sp>
            <p:nvSpPr>
              <p:cNvPr id="23" name="Freeform 5800">
                <a:extLst>
                  <a:ext uri="{FF2B5EF4-FFF2-40B4-BE49-F238E27FC236}">
                    <a16:creationId xmlns:a16="http://schemas.microsoft.com/office/drawing/2014/main" id="{2A73F1FB-DDDD-4055-BA7B-36412EE0D356}"/>
                  </a:ext>
                </a:extLst>
              </p:cNvPr>
              <p:cNvSpPr>
                <a:spLocks noEditPoints="1"/>
              </p:cNvSpPr>
              <p:nvPr/>
            </p:nvSpPr>
            <p:spPr bwMode="auto">
              <a:xfrm>
                <a:off x="6616688" y="3501369"/>
                <a:ext cx="314461" cy="338723"/>
              </a:xfrm>
              <a:custGeom>
                <a:avLst/>
                <a:gdLst>
                  <a:gd name="T0" fmla="*/ 214 w 242"/>
                  <a:gd name="T1" fmla="*/ 219 h 260"/>
                  <a:gd name="T2" fmla="*/ 155 w 242"/>
                  <a:gd name="T3" fmla="*/ 193 h 260"/>
                  <a:gd name="T4" fmla="*/ 154 w 242"/>
                  <a:gd name="T5" fmla="*/ 187 h 260"/>
                  <a:gd name="T6" fmla="*/ 175 w 242"/>
                  <a:gd name="T7" fmla="*/ 157 h 260"/>
                  <a:gd name="T8" fmla="*/ 179 w 242"/>
                  <a:gd name="T9" fmla="*/ 132 h 260"/>
                  <a:gd name="T10" fmla="*/ 181 w 242"/>
                  <a:gd name="T11" fmla="*/ 124 h 260"/>
                  <a:gd name="T12" fmla="*/ 194 w 242"/>
                  <a:gd name="T13" fmla="*/ 104 h 260"/>
                  <a:gd name="T14" fmla="*/ 167 w 242"/>
                  <a:gd name="T15" fmla="*/ 27 h 260"/>
                  <a:gd name="T16" fmla="*/ 129 w 242"/>
                  <a:gd name="T17" fmla="*/ 8 h 260"/>
                  <a:gd name="T18" fmla="*/ 79 w 242"/>
                  <a:gd name="T19" fmla="*/ 11 h 260"/>
                  <a:gd name="T20" fmla="*/ 54 w 242"/>
                  <a:gd name="T21" fmla="*/ 23 h 260"/>
                  <a:gd name="T22" fmla="*/ 57 w 242"/>
                  <a:gd name="T23" fmla="*/ 66 h 260"/>
                  <a:gd name="T24" fmla="*/ 55 w 242"/>
                  <a:gd name="T25" fmla="*/ 122 h 260"/>
                  <a:gd name="T26" fmla="*/ 64 w 242"/>
                  <a:gd name="T27" fmla="*/ 123 h 260"/>
                  <a:gd name="T28" fmla="*/ 66 w 242"/>
                  <a:gd name="T29" fmla="*/ 152 h 260"/>
                  <a:gd name="T30" fmla="*/ 87 w 242"/>
                  <a:gd name="T31" fmla="*/ 188 h 260"/>
                  <a:gd name="T32" fmla="*/ 73 w 242"/>
                  <a:gd name="T33" fmla="*/ 201 h 260"/>
                  <a:gd name="T34" fmla="*/ 30 w 242"/>
                  <a:gd name="T35" fmla="*/ 218 h 260"/>
                  <a:gd name="T36" fmla="*/ 1 w 242"/>
                  <a:gd name="T37" fmla="*/ 258 h 260"/>
                  <a:gd name="T38" fmla="*/ 5 w 242"/>
                  <a:gd name="T39" fmla="*/ 253 h 260"/>
                  <a:gd name="T40" fmla="*/ 74 w 242"/>
                  <a:gd name="T41" fmla="*/ 208 h 260"/>
                  <a:gd name="T42" fmla="*/ 110 w 242"/>
                  <a:gd name="T43" fmla="*/ 219 h 260"/>
                  <a:gd name="T44" fmla="*/ 113 w 242"/>
                  <a:gd name="T45" fmla="*/ 236 h 260"/>
                  <a:gd name="T46" fmla="*/ 128 w 242"/>
                  <a:gd name="T47" fmla="*/ 236 h 260"/>
                  <a:gd name="T48" fmla="*/ 131 w 242"/>
                  <a:gd name="T49" fmla="*/ 218 h 260"/>
                  <a:gd name="T50" fmla="*/ 167 w 242"/>
                  <a:gd name="T51" fmla="*/ 207 h 260"/>
                  <a:gd name="T52" fmla="*/ 238 w 242"/>
                  <a:gd name="T53" fmla="*/ 253 h 260"/>
                  <a:gd name="T54" fmla="*/ 239 w 242"/>
                  <a:gd name="T55" fmla="*/ 260 h 260"/>
                  <a:gd name="T56" fmla="*/ 191 w 242"/>
                  <a:gd name="T57" fmla="*/ 105 h 260"/>
                  <a:gd name="T58" fmla="*/ 180 w 242"/>
                  <a:gd name="T59" fmla="*/ 121 h 260"/>
                  <a:gd name="T60" fmla="*/ 62 w 242"/>
                  <a:gd name="T61" fmla="*/ 120 h 260"/>
                  <a:gd name="T62" fmla="*/ 63 w 242"/>
                  <a:gd name="T63" fmla="*/ 98 h 260"/>
                  <a:gd name="T64" fmla="*/ 70 w 242"/>
                  <a:gd name="T65" fmla="*/ 151 h 260"/>
                  <a:gd name="T66" fmla="*/ 67 w 242"/>
                  <a:gd name="T67" fmla="*/ 97 h 260"/>
                  <a:gd name="T68" fmla="*/ 83 w 242"/>
                  <a:gd name="T69" fmla="*/ 61 h 260"/>
                  <a:gd name="T70" fmla="*/ 87 w 242"/>
                  <a:gd name="T71" fmla="*/ 40 h 260"/>
                  <a:gd name="T72" fmla="*/ 175 w 242"/>
                  <a:gd name="T73" fmla="*/ 62 h 260"/>
                  <a:gd name="T74" fmla="*/ 176 w 242"/>
                  <a:gd name="T75" fmla="*/ 132 h 260"/>
                  <a:gd name="T76" fmla="*/ 172 w 242"/>
                  <a:gd name="T77" fmla="*/ 157 h 260"/>
                  <a:gd name="T78" fmla="*/ 98 w 242"/>
                  <a:gd name="T79" fmla="*/ 185 h 260"/>
                  <a:gd name="T80" fmla="*/ 114 w 242"/>
                  <a:gd name="T81" fmla="*/ 215 h 260"/>
                  <a:gd name="T82" fmla="*/ 91 w 242"/>
                  <a:gd name="T83" fmla="*/ 188 h 260"/>
                  <a:gd name="T84" fmla="*/ 135 w 242"/>
                  <a:gd name="T85" fmla="*/ 190 h 260"/>
                  <a:gd name="T86" fmla="*/ 150 w 242"/>
                  <a:gd name="T87" fmla="*/ 196 h 260"/>
                  <a:gd name="T88" fmla="*/ 126 w 242"/>
                  <a:gd name="T89" fmla="*/ 215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2" h="260">
                    <a:moveTo>
                      <a:pt x="241" y="253"/>
                    </a:moveTo>
                    <a:cubicBezTo>
                      <a:pt x="242" y="241"/>
                      <a:pt x="232" y="226"/>
                      <a:pt x="220" y="222"/>
                    </a:cubicBezTo>
                    <a:cubicBezTo>
                      <a:pt x="214" y="219"/>
                      <a:pt x="214" y="219"/>
                      <a:pt x="214" y="219"/>
                    </a:cubicBezTo>
                    <a:cubicBezTo>
                      <a:pt x="199" y="213"/>
                      <a:pt x="184" y="206"/>
                      <a:pt x="168" y="203"/>
                    </a:cubicBezTo>
                    <a:cubicBezTo>
                      <a:pt x="169" y="201"/>
                      <a:pt x="169" y="201"/>
                      <a:pt x="169" y="201"/>
                    </a:cubicBezTo>
                    <a:cubicBezTo>
                      <a:pt x="155" y="193"/>
                      <a:pt x="155" y="193"/>
                      <a:pt x="155" y="193"/>
                    </a:cubicBezTo>
                    <a:cubicBezTo>
                      <a:pt x="154" y="194"/>
                      <a:pt x="154" y="194"/>
                      <a:pt x="154" y="194"/>
                    </a:cubicBezTo>
                    <a:cubicBezTo>
                      <a:pt x="154" y="192"/>
                      <a:pt x="154" y="191"/>
                      <a:pt x="154" y="189"/>
                    </a:cubicBezTo>
                    <a:cubicBezTo>
                      <a:pt x="154" y="187"/>
                      <a:pt x="154" y="187"/>
                      <a:pt x="154" y="187"/>
                    </a:cubicBezTo>
                    <a:cubicBezTo>
                      <a:pt x="154" y="187"/>
                      <a:pt x="154" y="187"/>
                      <a:pt x="154" y="187"/>
                    </a:cubicBezTo>
                    <a:cubicBezTo>
                      <a:pt x="160" y="186"/>
                      <a:pt x="166" y="182"/>
                      <a:pt x="170" y="175"/>
                    </a:cubicBezTo>
                    <a:cubicBezTo>
                      <a:pt x="173" y="170"/>
                      <a:pt x="174" y="164"/>
                      <a:pt x="175" y="157"/>
                    </a:cubicBezTo>
                    <a:cubicBezTo>
                      <a:pt x="176" y="153"/>
                      <a:pt x="176" y="153"/>
                      <a:pt x="176" y="153"/>
                    </a:cubicBezTo>
                    <a:cubicBezTo>
                      <a:pt x="177" y="147"/>
                      <a:pt x="179" y="141"/>
                      <a:pt x="179" y="134"/>
                    </a:cubicBezTo>
                    <a:cubicBezTo>
                      <a:pt x="179" y="132"/>
                      <a:pt x="179" y="132"/>
                      <a:pt x="179" y="132"/>
                    </a:cubicBezTo>
                    <a:cubicBezTo>
                      <a:pt x="180" y="130"/>
                      <a:pt x="180" y="127"/>
                      <a:pt x="180" y="125"/>
                    </a:cubicBezTo>
                    <a:cubicBezTo>
                      <a:pt x="180" y="125"/>
                      <a:pt x="180" y="125"/>
                      <a:pt x="180" y="125"/>
                    </a:cubicBezTo>
                    <a:cubicBezTo>
                      <a:pt x="181" y="124"/>
                      <a:pt x="181" y="124"/>
                      <a:pt x="181" y="124"/>
                    </a:cubicBezTo>
                    <a:cubicBezTo>
                      <a:pt x="181" y="124"/>
                      <a:pt x="182" y="124"/>
                      <a:pt x="183" y="124"/>
                    </a:cubicBezTo>
                    <a:cubicBezTo>
                      <a:pt x="185" y="124"/>
                      <a:pt x="187" y="124"/>
                      <a:pt x="189" y="123"/>
                    </a:cubicBezTo>
                    <a:cubicBezTo>
                      <a:pt x="194" y="119"/>
                      <a:pt x="196" y="111"/>
                      <a:pt x="194" y="104"/>
                    </a:cubicBezTo>
                    <a:cubicBezTo>
                      <a:pt x="193" y="99"/>
                      <a:pt x="188" y="97"/>
                      <a:pt x="184" y="96"/>
                    </a:cubicBezTo>
                    <a:cubicBezTo>
                      <a:pt x="187" y="86"/>
                      <a:pt x="190" y="54"/>
                      <a:pt x="182" y="43"/>
                    </a:cubicBezTo>
                    <a:cubicBezTo>
                      <a:pt x="178" y="35"/>
                      <a:pt x="173" y="32"/>
                      <a:pt x="167" y="27"/>
                    </a:cubicBezTo>
                    <a:cubicBezTo>
                      <a:pt x="160" y="21"/>
                      <a:pt x="155" y="13"/>
                      <a:pt x="147" y="8"/>
                    </a:cubicBezTo>
                    <a:cubicBezTo>
                      <a:pt x="142" y="5"/>
                      <a:pt x="135" y="0"/>
                      <a:pt x="129" y="3"/>
                    </a:cubicBezTo>
                    <a:cubicBezTo>
                      <a:pt x="129" y="4"/>
                      <a:pt x="130" y="6"/>
                      <a:pt x="129" y="8"/>
                    </a:cubicBezTo>
                    <a:cubicBezTo>
                      <a:pt x="123" y="8"/>
                      <a:pt x="116" y="5"/>
                      <a:pt x="110" y="5"/>
                    </a:cubicBezTo>
                    <a:cubicBezTo>
                      <a:pt x="104" y="4"/>
                      <a:pt x="97" y="4"/>
                      <a:pt x="92" y="5"/>
                    </a:cubicBezTo>
                    <a:cubicBezTo>
                      <a:pt x="87" y="6"/>
                      <a:pt x="79" y="5"/>
                      <a:pt x="79" y="11"/>
                    </a:cubicBezTo>
                    <a:cubicBezTo>
                      <a:pt x="79" y="15"/>
                      <a:pt x="81" y="16"/>
                      <a:pt x="77" y="16"/>
                    </a:cubicBezTo>
                    <a:cubicBezTo>
                      <a:pt x="74" y="16"/>
                      <a:pt x="71" y="16"/>
                      <a:pt x="68" y="17"/>
                    </a:cubicBezTo>
                    <a:cubicBezTo>
                      <a:pt x="64" y="17"/>
                      <a:pt x="55" y="17"/>
                      <a:pt x="54" y="23"/>
                    </a:cubicBezTo>
                    <a:cubicBezTo>
                      <a:pt x="53" y="27"/>
                      <a:pt x="56" y="28"/>
                      <a:pt x="57" y="30"/>
                    </a:cubicBezTo>
                    <a:cubicBezTo>
                      <a:pt x="59" y="33"/>
                      <a:pt x="61" y="36"/>
                      <a:pt x="61" y="38"/>
                    </a:cubicBezTo>
                    <a:cubicBezTo>
                      <a:pt x="64" y="48"/>
                      <a:pt x="60" y="57"/>
                      <a:pt x="57" y="66"/>
                    </a:cubicBezTo>
                    <a:cubicBezTo>
                      <a:pt x="55" y="75"/>
                      <a:pt x="56" y="87"/>
                      <a:pt x="60" y="95"/>
                    </a:cubicBezTo>
                    <a:cubicBezTo>
                      <a:pt x="56" y="95"/>
                      <a:pt x="52" y="97"/>
                      <a:pt x="50" y="103"/>
                    </a:cubicBezTo>
                    <a:cubicBezTo>
                      <a:pt x="48" y="110"/>
                      <a:pt x="50" y="118"/>
                      <a:pt x="55" y="122"/>
                    </a:cubicBezTo>
                    <a:cubicBezTo>
                      <a:pt x="57" y="123"/>
                      <a:pt x="60" y="123"/>
                      <a:pt x="62" y="123"/>
                    </a:cubicBezTo>
                    <a:cubicBezTo>
                      <a:pt x="62" y="123"/>
                      <a:pt x="63" y="123"/>
                      <a:pt x="63" y="123"/>
                    </a:cubicBezTo>
                    <a:cubicBezTo>
                      <a:pt x="64" y="123"/>
                      <a:pt x="64" y="123"/>
                      <a:pt x="64" y="123"/>
                    </a:cubicBezTo>
                    <a:cubicBezTo>
                      <a:pt x="64" y="123"/>
                      <a:pt x="64" y="124"/>
                      <a:pt x="64" y="124"/>
                    </a:cubicBezTo>
                    <a:cubicBezTo>
                      <a:pt x="64" y="127"/>
                      <a:pt x="64" y="130"/>
                      <a:pt x="64" y="133"/>
                    </a:cubicBezTo>
                    <a:cubicBezTo>
                      <a:pt x="65" y="140"/>
                      <a:pt x="65" y="146"/>
                      <a:pt x="66" y="152"/>
                    </a:cubicBezTo>
                    <a:cubicBezTo>
                      <a:pt x="69" y="165"/>
                      <a:pt x="76" y="179"/>
                      <a:pt x="87" y="185"/>
                    </a:cubicBezTo>
                    <a:cubicBezTo>
                      <a:pt x="87" y="185"/>
                      <a:pt x="87" y="185"/>
                      <a:pt x="87" y="185"/>
                    </a:cubicBezTo>
                    <a:cubicBezTo>
                      <a:pt x="87" y="188"/>
                      <a:pt x="87" y="188"/>
                      <a:pt x="87" y="188"/>
                    </a:cubicBezTo>
                    <a:cubicBezTo>
                      <a:pt x="87" y="190"/>
                      <a:pt x="87" y="192"/>
                      <a:pt x="87" y="193"/>
                    </a:cubicBezTo>
                    <a:cubicBezTo>
                      <a:pt x="87" y="193"/>
                      <a:pt x="87" y="193"/>
                      <a:pt x="87" y="193"/>
                    </a:cubicBezTo>
                    <a:cubicBezTo>
                      <a:pt x="73" y="201"/>
                      <a:pt x="73" y="201"/>
                      <a:pt x="73" y="201"/>
                    </a:cubicBezTo>
                    <a:cubicBezTo>
                      <a:pt x="74" y="204"/>
                      <a:pt x="74" y="204"/>
                      <a:pt x="74" y="204"/>
                    </a:cubicBezTo>
                    <a:cubicBezTo>
                      <a:pt x="74" y="204"/>
                      <a:pt x="73" y="204"/>
                      <a:pt x="73" y="204"/>
                    </a:cubicBezTo>
                    <a:cubicBezTo>
                      <a:pt x="58" y="206"/>
                      <a:pt x="44" y="212"/>
                      <a:pt x="30" y="218"/>
                    </a:cubicBezTo>
                    <a:cubicBezTo>
                      <a:pt x="27" y="219"/>
                      <a:pt x="24" y="221"/>
                      <a:pt x="21" y="222"/>
                    </a:cubicBezTo>
                    <a:cubicBezTo>
                      <a:pt x="10" y="226"/>
                      <a:pt x="0" y="241"/>
                      <a:pt x="1" y="253"/>
                    </a:cubicBezTo>
                    <a:cubicBezTo>
                      <a:pt x="1" y="258"/>
                      <a:pt x="1" y="258"/>
                      <a:pt x="1" y="258"/>
                    </a:cubicBezTo>
                    <a:cubicBezTo>
                      <a:pt x="1" y="259"/>
                      <a:pt x="2" y="260"/>
                      <a:pt x="3" y="260"/>
                    </a:cubicBezTo>
                    <a:cubicBezTo>
                      <a:pt x="4" y="260"/>
                      <a:pt x="4" y="259"/>
                      <a:pt x="5" y="258"/>
                    </a:cubicBezTo>
                    <a:cubicBezTo>
                      <a:pt x="5" y="253"/>
                      <a:pt x="5" y="253"/>
                      <a:pt x="5" y="253"/>
                    </a:cubicBezTo>
                    <a:cubicBezTo>
                      <a:pt x="4" y="242"/>
                      <a:pt x="12" y="229"/>
                      <a:pt x="22" y="225"/>
                    </a:cubicBezTo>
                    <a:cubicBezTo>
                      <a:pt x="25" y="224"/>
                      <a:pt x="28" y="223"/>
                      <a:pt x="31" y="221"/>
                    </a:cubicBezTo>
                    <a:cubicBezTo>
                      <a:pt x="45" y="216"/>
                      <a:pt x="59" y="209"/>
                      <a:pt x="74" y="208"/>
                    </a:cubicBezTo>
                    <a:cubicBezTo>
                      <a:pt x="74" y="208"/>
                      <a:pt x="74" y="208"/>
                      <a:pt x="75" y="207"/>
                    </a:cubicBezTo>
                    <a:cubicBezTo>
                      <a:pt x="87" y="240"/>
                      <a:pt x="87" y="240"/>
                      <a:pt x="87" y="240"/>
                    </a:cubicBezTo>
                    <a:cubicBezTo>
                      <a:pt x="110" y="219"/>
                      <a:pt x="110" y="219"/>
                      <a:pt x="110" y="219"/>
                    </a:cubicBezTo>
                    <a:cubicBezTo>
                      <a:pt x="110" y="219"/>
                      <a:pt x="110" y="220"/>
                      <a:pt x="110" y="220"/>
                    </a:cubicBezTo>
                    <a:cubicBezTo>
                      <a:pt x="110" y="231"/>
                      <a:pt x="110" y="231"/>
                      <a:pt x="110" y="231"/>
                    </a:cubicBezTo>
                    <a:cubicBezTo>
                      <a:pt x="110" y="233"/>
                      <a:pt x="111" y="235"/>
                      <a:pt x="113" y="236"/>
                    </a:cubicBezTo>
                    <a:cubicBezTo>
                      <a:pt x="109" y="255"/>
                      <a:pt x="109" y="255"/>
                      <a:pt x="109" y="255"/>
                    </a:cubicBezTo>
                    <a:cubicBezTo>
                      <a:pt x="132" y="255"/>
                      <a:pt x="132" y="255"/>
                      <a:pt x="132" y="255"/>
                    </a:cubicBezTo>
                    <a:cubicBezTo>
                      <a:pt x="128" y="236"/>
                      <a:pt x="128" y="236"/>
                      <a:pt x="128" y="236"/>
                    </a:cubicBezTo>
                    <a:cubicBezTo>
                      <a:pt x="130" y="235"/>
                      <a:pt x="131" y="233"/>
                      <a:pt x="131" y="231"/>
                    </a:cubicBezTo>
                    <a:cubicBezTo>
                      <a:pt x="131" y="220"/>
                      <a:pt x="131" y="220"/>
                      <a:pt x="131" y="220"/>
                    </a:cubicBezTo>
                    <a:cubicBezTo>
                      <a:pt x="131" y="219"/>
                      <a:pt x="131" y="219"/>
                      <a:pt x="131" y="218"/>
                    </a:cubicBezTo>
                    <a:cubicBezTo>
                      <a:pt x="155" y="240"/>
                      <a:pt x="155" y="240"/>
                      <a:pt x="155" y="240"/>
                    </a:cubicBezTo>
                    <a:cubicBezTo>
                      <a:pt x="167" y="207"/>
                      <a:pt x="167" y="207"/>
                      <a:pt x="167" y="207"/>
                    </a:cubicBezTo>
                    <a:cubicBezTo>
                      <a:pt x="167" y="207"/>
                      <a:pt x="167" y="207"/>
                      <a:pt x="167" y="207"/>
                    </a:cubicBezTo>
                    <a:cubicBezTo>
                      <a:pt x="183" y="209"/>
                      <a:pt x="198" y="216"/>
                      <a:pt x="213" y="223"/>
                    </a:cubicBezTo>
                    <a:cubicBezTo>
                      <a:pt x="219" y="225"/>
                      <a:pt x="219" y="225"/>
                      <a:pt x="219" y="225"/>
                    </a:cubicBezTo>
                    <a:cubicBezTo>
                      <a:pt x="229" y="229"/>
                      <a:pt x="238" y="242"/>
                      <a:pt x="238" y="253"/>
                    </a:cubicBezTo>
                    <a:cubicBezTo>
                      <a:pt x="238" y="258"/>
                      <a:pt x="238" y="258"/>
                      <a:pt x="238" y="258"/>
                    </a:cubicBezTo>
                    <a:cubicBezTo>
                      <a:pt x="238" y="259"/>
                      <a:pt x="238" y="260"/>
                      <a:pt x="239" y="260"/>
                    </a:cubicBezTo>
                    <a:cubicBezTo>
                      <a:pt x="239" y="260"/>
                      <a:pt x="239" y="260"/>
                      <a:pt x="239" y="260"/>
                    </a:cubicBezTo>
                    <a:cubicBezTo>
                      <a:pt x="240" y="260"/>
                      <a:pt x="241" y="259"/>
                      <a:pt x="241" y="258"/>
                    </a:cubicBezTo>
                    <a:lnTo>
                      <a:pt x="241" y="253"/>
                    </a:lnTo>
                    <a:close/>
                    <a:moveTo>
                      <a:pt x="191" y="105"/>
                    </a:moveTo>
                    <a:cubicBezTo>
                      <a:pt x="193" y="111"/>
                      <a:pt x="191" y="117"/>
                      <a:pt x="187" y="120"/>
                    </a:cubicBezTo>
                    <a:cubicBezTo>
                      <a:pt x="186" y="121"/>
                      <a:pt x="184" y="121"/>
                      <a:pt x="183" y="121"/>
                    </a:cubicBezTo>
                    <a:cubicBezTo>
                      <a:pt x="182" y="121"/>
                      <a:pt x="181" y="121"/>
                      <a:pt x="180" y="121"/>
                    </a:cubicBezTo>
                    <a:cubicBezTo>
                      <a:pt x="181" y="114"/>
                      <a:pt x="181" y="106"/>
                      <a:pt x="182" y="99"/>
                    </a:cubicBezTo>
                    <a:cubicBezTo>
                      <a:pt x="187" y="99"/>
                      <a:pt x="190" y="101"/>
                      <a:pt x="191" y="105"/>
                    </a:cubicBezTo>
                    <a:close/>
                    <a:moveTo>
                      <a:pt x="62" y="120"/>
                    </a:moveTo>
                    <a:cubicBezTo>
                      <a:pt x="60" y="120"/>
                      <a:pt x="58" y="120"/>
                      <a:pt x="57" y="119"/>
                    </a:cubicBezTo>
                    <a:cubicBezTo>
                      <a:pt x="54" y="116"/>
                      <a:pt x="52" y="109"/>
                      <a:pt x="54" y="104"/>
                    </a:cubicBezTo>
                    <a:cubicBezTo>
                      <a:pt x="55" y="100"/>
                      <a:pt x="58" y="98"/>
                      <a:pt x="63" y="98"/>
                    </a:cubicBezTo>
                    <a:cubicBezTo>
                      <a:pt x="63" y="105"/>
                      <a:pt x="63" y="112"/>
                      <a:pt x="63" y="120"/>
                    </a:cubicBezTo>
                    <a:cubicBezTo>
                      <a:pt x="63" y="120"/>
                      <a:pt x="62" y="120"/>
                      <a:pt x="62" y="120"/>
                    </a:cubicBezTo>
                    <a:close/>
                    <a:moveTo>
                      <a:pt x="70" y="151"/>
                    </a:moveTo>
                    <a:cubicBezTo>
                      <a:pt x="69" y="145"/>
                      <a:pt x="68" y="139"/>
                      <a:pt x="68" y="133"/>
                    </a:cubicBezTo>
                    <a:cubicBezTo>
                      <a:pt x="68" y="130"/>
                      <a:pt x="67" y="127"/>
                      <a:pt x="67" y="124"/>
                    </a:cubicBezTo>
                    <a:cubicBezTo>
                      <a:pt x="66" y="115"/>
                      <a:pt x="66" y="106"/>
                      <a:pt x="67" y="97"/>
                    </a:cubicBezTo>
                    <a:cubicBezTo>
                      <a:pt x="67" y="95"/>
                      <a:pt x="67" y="95"/>
                      <a:pt x="67" y="95"/>
                    </a:cubicBezTo>
                    <a:cubicBezTo>
                      <a:pt x="67" y="86"/>
                      <a:pt x="67" y="79"/>
                      <a:pt x="71" y="72"/>
                    </a:cubicBezTo>
                    <a:cubicBezTo>
                      <a:pt x="74" y="67"/>
                      <a:pt x="79" y="64"/>
                      <a:pt x="83" y="61"/>
                    </a:cubicBezTo>
                    <a:cubicBezTo>
                      <a:pt x="85" y="59"/>
                      <a:pt x="87" y="58"/>
                      <a:pt x="89" y="56"/>
                    </a:cubicBezTo>
                    <a:cubicBezTo>
                      <a:pt x="90" y="56"/>
                      <a:pt x="90" y="55"/>
                      <a:pt x="90" y="55"/>
                    </a:cubicBezTo>
                    <a:cubicBezTo>
                      <a:pt x="93" y="51"/>
                      <a:pt x="87" y="40"/>
                      <a:pt x="87" y="40"/>
                    </a:cubicBezTo>
                    <a:cubicBezTo>
                      <a:pt x="87" y="40"/>
                      <a:pt x="108" y="60"/>
                      <a:pt x="121" y="63"/>
                    </a:cubicBezTo>
                    <a:cubicBezTo>
                      <a:pt x="134" y="66"/>
                      <a:pt x="151" y="52"/>
                      <a:pt x="161" y="53"/>
                    </a:cubicBezTo>
                    <a:cubicBezTo>
                      <a:pt x="171" y="54"/>
                      <a:pt x="172" y="57"/>
                      <a:pt x="175" y="62"/>
                    </a:cubicBezTo>
                    <a:cubicBezTo>
                      <a:pt x="177" y="65"/>
                      <a:pt x="178" y="74"/>
                      <a:pt x="178" y="82"/>
                    </a:cubicBezTo>
                    <a:cubicBezTo>
                      <a:pt x="178" y="83"/>
                      <a:pt x="178" y="83"/>
                      <a:pt x="178" y="83"/>
                    </a:cubicBezTo>
                    <a:cubicBezTo>
                      <a:pt x="178" y="100"/>
                      <a:pt x="177" y="115"/>
                      <a:pt x="176" y="132"/>
                    </a:cubicBezTo>
                    <a:cubicBezTo>
                      <a:pt x="176" y="134"/>
                      <a:pt x="176" y="134"/>
                      <a:pt x="176" y="134"/>
                    </a:cubicBezTo>
                    <a:cubicBezTo>
                      <a:pt x="175" y="140"/>
                      <a:pt x="174" y="146"/>
                      <a:pt x="173" y="152"/>
                    </a:cubicBezTo>
                    <a:cubicBezTo>
                      <a:pt x="172" y="157"/>
                      <a:pt x="172" y="157"/>
                      <a:pt x="172" y="157"/>
                    </a:cubicBezTo>
                    <a:cubicBezTo>
                      <a:pt x="171" y="163"/>
                      <a:pt x="169" y="168"/>
                      <a:pt x="167" y="173"/>
                    </a:cubicBezTo>
                    <a:cubicBezTo>
                      <a:pt x="160" y="184"/>
                      <a:pt x="148" y="186"/>
                      <a:pt x="135" y="186"/>
                    </a:cubicBezTo>
                    <a:cubicBezTo>
                      <a:pt x="123" y="186"/>
                      <a:pt x="111" y="186"/>
                      <a:pt x="98" y="185"/>
                    </a:cubicBezTo>
                    <a:cubicBezTo>
                      <a:pt x="82" y="183"/>
                      <a:pt x="73" y="166"/>
                      <a:pt x="70" y="151"/>
                    </a:cubicBezTo>
                    <a:close/>
                    <a:moveTo>
                      <a:pt x="115" y="215"/>
                    </a:moveTo>
                    <a:cubicBezTo>
                      <a:pt x="115" y="215"/>
                      <a:pt x="115" y="215"/>
                      <a:pt x="114" y="215"/>
                    </a:cubicBezTo>
                    <a:cubicBezTo>
                      <a:pt x="91" y="196"/>
                      <a:pt x="91" y="196"/>
                      <a:pt x="91" y="196"/>
                    </a:cubicBezTo>
                    <a:cubicBezTo>
                      <a:pt x="91" y="196"/>
                      <a:pt x="91" y="196"/>
                      <a:pt x="91" y="196"/>
                    </a:cubicBezTo>
                    <a:cubicBezTo>
                      <a:pt x="91" y="194"/>
                      <a:pt x="91" y="191"/>
                      <a:pt x="91" y="188"/>
                    </a:cubicBezTo>
                    <a:cubicBezTo>
                      <a:pt x="91" y="187"/>
                      <a:pt x="91" y="187"/>
                      <a:pt x="91" y="187"/>
                    </a:cubicBezTo>
                    <a:cubicBezTo>
                      <a:pt x="93" y="188"/>
                      <a:pt x="95" y="188"/>
                      <a:pt x="98" y="188"/>
                    </a:cubicBezTo>
                    <a:cubicBezTo>
                      <a:pt x="111" y="189"/>
                      <a:pt x="123" y="190"/>
                      <a:pt x="135" y="190"/>
                    </a:cubicBezTo>
                    <a:cubicBezTo>
                      <a:pt x="140" y="190"/>
                      <a:pt x="145" y="189"/>
                      <a:pt x="150" y="188"/>
                    </a:cubicBezTo>
                    <a:cubicBezTo>
                      <a:pt x="150" y="189"/>
                      <a:pt x="150" y="189"/>
                      <a:pt x="150" y="189"/>
                    </a:cubicBezTo>
                    <a:cubicBezTo>
                      <a:pt x="150" y="192"/>
                      <a:pt x="150" y="194"/>
                      <a:pt x="150" y="196"/>
                    </a:cubicBezTo>
                    <a:cubicBezTo>
                      <a:pt x="150" y="196"/>
                      <a:pt x="150" y="196"/>
                      <a:pt x="150" y="196"/>
                    </a:cubicBezTo>
                    <a:cubicBezTo>
                      <a:pt x="127" y="215"/>
                      <a:pt x="127" y="215"/>
                      <a:pt x="127" y="215"/>
                    </a:cubicBezTo>
                    <a:cubicBezTo>
                      <a:pt x="127" y="215"/>
                      <a:pt x="126" y="215"/>
                      <a:pt x="126" y="215"/>
                    </a:cubicBezTo>
                    <a:lnTo>
                      <a:pt x="115" y="215"/>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NZ" sz="1800" kern="0" dirty="0">
                  <a:solidFill>
                    <a:prstClr val="black"/>
                  </a:solidFill>
                  <a:latin typeface="Calibri" panose="020F0502020204030204" pitchFamily="34" charset="0"/>
                  <a:cs typeface="Calibri" panose="020F0502020204030204" pitchFamily="34" charset="0"/>
                </a:endParaRPr>
              </a:p>
            </p:txBody>
          </p:sp>
          <p:sp>
            <p:nvSpPr>
              <p:cNvPr id="24" name="Freeform 5806">
                <a:extLst>
                  <a:ext uri="{FF2B5EF4-FFF2-40B4-BE49-F238E27FC236}">
                    <a16:creationId xmlns:a16="http://schemas.microsoft.com/office/drawing/2014/main" id="{6CB40DC9-5FD5-4A0A-B345-33C8D0E5DF9C}"/>
                  </a:ext>
                </a:extLst>
              </p:cNvPr>
              <p:cNvSpPr>
                <a:spLocks noEditPoints="1"/>
              </p:cNvSpPr>
              <p:nvPr/>
            </p:nvSpPr>
            <p:spPr bwMode="auto">
              <a:xfrm>
                <a:off x="6899438" y="3577298"/>
                <a:ext cx="271645" cy="333490"/>
              </a:xfrm>
              <a:custGeom>
                <a:avLst/>
                <a:gdLst>
                  <a:gd name="T0" fmla="*/ 170 w 209"/>
                  <a:gd name="T1" fmla="*/ 214 h 256"/>
                  <a:gd name="T2" fmla="*/ 128 w 209"/>
                  <a:gd name="T3" fmla="*/ 179 h 256"/>
                  <a:gd name="T4" fmla="*/ 139 w 209"/>
                  <a:gd name="T5" fmla="*/ 167 h 256"/>
                  <a:gd name="T6" fmla="*/ 164 w 209"/>
                  <a:gd name="T7" fmla="*/ 159 h 256"/>
                  <a:gd name="T8" fmla="*/ 179 w 209"/>
                  <a:gd name="T9" fmla="*/ 156 h 256"/>
                  <a:gd name="T10" fmla="*/ 192 w 209"/>
                  <a:gd name="T11" fmla="*/ 130 h 256"/>
                  <a:gd name="T12" fmla="*/ 187 w 209"/>
                  <a:gd name="T13" fmla="*/ 116 h 256"/>
                  <a:gd name="T14" fmla="*/ 196 w 209"/>
                  <a:gd name="T15" fmla="*/ 104 h 256"/>
                  <a:gd name="T16" fmla="*/ 190 w 209"/>
                  <a:gd name="T17" fmla="*/ 86 h 256"/>
                  <a:gd name="T18" fmla="*/ 187 w 209"/>
                  <a:gd name="T19" fmla="*/ 69 h 256"/>
                  <a:gd name="T20" fmla="*/ 187 w 209"/>
                  <a:gd name="T21" fmla="*/ 53 h 256"/>
                  <a:gd name="T22" fmla="*/ 177 w 209"/>
                  <a:gd name="T23" fmla="*/ 33 h 256"/>
                  <a:gd name="T24" fmla="*/ 160 w 209"/>
                  <a:gd name="T25" fmla="*/ 16 h 256"/>
                  <a:gd name="T26" fmla="*/ 145 w 209"/>
                  <a:gd name="T27" fmla="*/ 11 h 256"/>
                  <a:gd name="T28" fmla="*/ 128 w 209"/>
                  <a:gd name="T29" fmla="*/ 2 h 256"/>
                  <a:gd name="T30" fmla="*/ 110 w 209"/>
                  <a:gd name="T31" fmla="*/ 0 h 256"/>
                  <a:gd name="T32" fmla="*/ 89 w 209"/>
                  <a:gd name="T33" fmla="*/ 5 h 256"/>
                  <a:gd name="T34" fmla="*/ 69 w 209"/>
                  <a:gd name="T35" fmla="*/ 8 h 256"/>
                  <a:gd name="T36" fmla="*/ 55 w 209"/>
                  <a:gd name="T37" fmla="*/ 12 h 256"/>
                  <a:gd name="T38" fmla="*/ 35 w 209"/>
                  <a:gd name="T39" fmla="*/ 30 h 256"/>
                  <a:gd name="T40" fmla="*/ 20 w 209"/>
                  <a:gd name="T41" fmla="*/ 57 h 256"/>
                  <a:gd name="T42" fmla="*/ 25 w 209"/>
                  <a:gd name="T43" fmla="*/ 73 h 256"/>
                  <a:gd name="T44" fmla="*/ 15 w 209"/>
                  <a:gd name="T45" fmla="*/ 86 h 256"/>
                  <a:gd name="T46" fmla="*/ 21 w 209"/>
                  <a:gd name="T47" fmla="*/ 99 h 256"/>
                  <a:gd name="T48" fmla="*/ 15 w 209"/>
                  <a:gd name="T49" fmla="*/ 108 h 256"/>
                  <a:gd name="T50" fmla="*/ 25 w 209"/>
                  <a:gd name="T51" fmla="*/ 123 h 256"/>
                  <a:gd name="T52" fmla="*/ 22 w 209"/>
                  <a:gd name="T53" fmla="*/ 138 h 256"/>
                  <a:gd name="T54" fmla="*/ 40 w 209"/>
                  <a:gd name="T55" fmla="*/ 148 h 256"/>
                  <a:gd name="T56" fmla="*/ 47 w 209"/>
                  <a:gd name="T57" fmla="*/ 162 h 256"/>
                  <a:gd name="T58" fmla="*/ 62 w 209"/>
                  <a:gd name="T59" fmla="*/ 167 h 256"/>
                  <a:gd name="T60" fmla="*/ 81 w 209"/>
                  <a:gd name="T61" fmla="*/ 179 h 256"/>
                  <a:gd name="T62" fmla="*/ 39 w 209"/>
                  <a:gd name="T63" fmla="*/ 213 h 256"/>
                  <a:gd name="T64" fmla="*/ 6 w 209"/>
                  <a:gd name="T65" fmla="*/ 230 h 256"/>
                  <a:gd name="T66" fmla="*/ 2 w 209"/>
                  <a:gd name="T67" fmla="*/ 256 h 256"/>
                  <a:gd name="T68" fmla="*/ 10 w 209"/>
                  <a:gd name="T69" fmla="*/ 232 h 256"/>
                  <a:gd name="T70" fmla="*/ 40 w 209"/>
                  <a:gd name="T71" fmla="*/ 218 h 256"/>
                  <a:gd name="T72" fmla="*/ 103 w 209"/>
                  <a:gd name="T73" fmla="*/ 252 h 256"/>
                  <a:gd name="T74" fmla="*/ 105 w 209"/>
                  <a:gd name="T75" fmla="*/ 252 h 256"/>
                  <a:gd name="T76" fmla="*/ 169 w 209"/>
                  <a:gd name="T77" fmla="*/ 219 h 256"/>
                  <a:gd name="T78" fmla="*/ 199 w 209"/>
                  <a:gd name="T79" fmla="*/ 233 h 256"/>
                  <a:gd name="T80" fmla="*/ 207 w 209"/>
                  <a:gd name="T81" fmla="*/ 256 h 256"/>
                  <a:gd name="T82" fmla="*/ 209 w 209"/>
                  <a:gd name="T83" fmla="*/ 254 h 256"/>
                  <a:gd name="T84" fmla="*/ 171 w 209"/>
                  <a:gd name="T85" fmla="*/ 214 h 256"/>
                  <a:gd name="T86" fmla="*/ 60 w 209"/>
                  <a:gd name="T87" fmla="*/ 69 h 256"/>
                  <a:gd name="T88" fmla="*/ 148 w 209"/>
                  <a:gd name="T89" fmla="*/ 71 h 256"/>
                  <a:gd name="T90" fmla="*/ 101 w 209"/>
                  <a:gd name="T91" fmla="*/ 85 h 256"/>
                  <a:gd name="T92" fmla="*/ 63 w 209"/>
                  <a:gd name="T93" fmla="*/ 146 h 256"/>
                  <a:gd name="T94" fmla="*/ 102 w 209"/>
                  <a:gd name="T95" fmla="*/ 89 h 256"/>
                  <a:gd name="T96" fmla="*/ 146 w 209"/>
                  <a:gd name="T97" fmla="*/ 146 h 256"/>
                  <a:gd name="T98" fmla="*/ 104 w 209"/>
                  <a:gd name="T99" fmla="*/ 186 h 256"/>
                  <a:gd name="T100" fmla="*/ 63 w 209"/>
                  <a:gd name="T101" fmla="*/ 146 h 256"/>
                  <a:gd name="T102" fmla="*/ 50 w 209"/>
                  <a:gd name="T103" fmla="*/ 216 h 256"/>
                  <a:gd name="T104" fmla="*/ 86 w 209"/>
                  <a:gd name="T105" fmla="*/ 183 h 256"/>
                  <a:gd name="T106" fmla="*/ 123 w 209"/>
                  <a:gd name="T107" fmla="*/ 183 h 256"/>
                  <a:gd name="T108" fmla="*/ 161 w 209"/>
                  <a:gd name="T109" fmla="*/ 217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56">
                    <a:moveTo>
                      <a:pt x="171" y="214"/>
                    </a:moveTo>
                    <a:cubicBezTo>
                      <a:pt x="170" y="214"/>
                      <a:pt x="170" y="214"/>
                      <a:pt x="170" y="214"/>
                    </a:cubicBezTo>
                    <a:cubicBezTo>
                      <a:pt x="154" y="211"/>
                      <a:pt x="134" y="207"/>
                      <a:pt x="130" y="200"/>
                    </a:cubicBezTo>
                    <a:cubicBezTo>
                      <a:pt x="126" y="192"/>
                      <a:pt x="127" y="180"/>
                      <a:pt x="128" y="179"/>
                    </a:cubicBezTo>
                    <a:cubicBezTo>
                      <a:pt x="128" y="179"/>
                      <a:pt x="128" y="179"/>
                      <a:pt x="128" y="179"/>
                    </a:cubicBezTo>
                    <a:cubicBezTo>
                      <a:pt x="131" y="176"/>
                      <a:pt x="136" y="172"/>
                      <a:pt x="139" y="167"/>
                    </a:cubicBezTo>
                    <a:cubicBezTo>
                      <a:pt x="143" y="168"/>
                      <a:pt x="153" y="168"/>
                      <a:pt x="156" y="165"/>
                    </a:cubicBezTo>
                    <a:cubicBezTo>
                      <a:pt x="159" y="162"/>
                      <a:pt x="160" y="161"/>
                      <a:pt x="164" y="159"/>
                    </a:cubicBezTo>
                    <a:cubicBezTo>
                      <a:pt x="165" y="157"/>
                      <a:pt x="168" y="159"/>
                      <a:pt x="170" y="159"/>
                    </a:cubicBezTo>
                    <a:cubicBezTo>
                      <a:pt x="173" y="160"/>
                      <a:pt x="177" y="159"/>
                      <a:pt x="179" y="156"/>
                    </a:cubicBezTo>
                    <a:cubicBezTo>
                      <a:pt x="183" y="152"/>
                      <a:pt x="181" y="142"/>
                      <a:pt x="182" y="136"/>
                    </a:cubicBezTo>
                    <a:cubicBezTo>
                      <a:pt x="186" y="136"/>
                      <a:pt x="191" y="136"/>
                      <a:pt x="192" y="130"/>
                    </a:cubicBezTo>
                    <a:cubicBezTo>
                      <a:pt x="193" y="128"/>
                      <a:pt x="192" y="124"/>
                      <a:pt x="191" y="122"/>
                    </a:cubicBezTo>
                    <a:cubicBezTo>
                      <a:pt x="190" y="120"/>
                      <a:pt x="187" y="117"/>
                      <a:pt x="187" y="116"/>
                    </a:cubicBezTo>
                    <a:cubicBezTo>
                      <a:pt x="187" y="114"/>
                      <a:pt x="188" y="115"/>
                      <a:pt x="190" y="114"/>
                    </a:cubicBezTo>
                    <a:cubicBezTo>
                      <a:pt x="193" y="111"/>
                      <a:pt x="195" y="107"/>
                      <a:pt x="196" y="104"/>
                    </a:cubicBezTo>
                    <a:cubicBezTo>
                      <a:pt x="197" y="98"/>
                      <a:pt x="195" y="91"/>
                      <a:pt x="189" y="90"/>
                    </a:cubicBezTo>
                    <a:cubicBezTo>
                      <a:pt x="188" y="88"/>
                      <a:pt x="189" y="88"/>
                      <a:pt x="190" y="86"/>
                    </a:cubicBezTo>
                    <a:cubicBezTo>
                      <a:pt x="192" y="83"/>
                      <a:pt x="194" y="81"/>
                      <a:pt x="193" y="77"/>
                    </a:cubicBezTo>
                    <a:cubicBezTo>
                      <a:pt x="192" y="74"/>
                      <a:pt x="189" y="71"/>
                      <a:pt x="187" y="69"/>
                    </a:cubicBezTo>
                    <a:cubicBezTo>
                      <a:pt x="185" y="67"/>
                      <a:pt x="185" y="68"/>
                      <a:pt x="185" y="66"/>
                    </a:cubicBezTo>
                    <a:cubicBezTo>
                      <a:pt x="187" y="61"/>
                      <a:pt x="190" y="58"/>
                      <a:pt x="187" y="53"/>
                    </a:cubicBezTo>
                    <a:cubicBezTo>
                      <a:pt x="184" y="49"/>
                      <a:pt x="180" y="45"/>
                      <a:pt x="176" y="45"/>
                    </a:cubicBezTo>
                    <a:cubicBezTo>
                      <a:pt x="178" y="41"/>
                      <a:pt x="178" y="37"/>
                      <a:pt x="177" y="33"/>
                    </a:cubicBezTo>
                    <a:cubicBezTo>
                      <a:pt x="175" y="26"/>
                      <a:pt x="170" y="28"/>
                      <a:pt x="165" y="27"/>
                    </a:cubicBezTo>
                    <a:cubicBezTo>
                      <a:pt x="159" y="25"/>
                      <a:pt x="162" y="20"/>
                      <a:pt x="160" y="16"/>
                    </a:cubicBezTo>
                    <a:cubicBezTo>
                      <a:pt x="158" y="13"/>
                      <a:pt x="154" y="11"/>
                      <a:pt x="152" y="10"/>
                    </a:cubicBezTo>
                    <a:cubicBezTo>
                      <a:pt x="148" y="8"/>
                      <a:pt x="148" y="10"/>
                      <a:pt x="145" y="11"/>
                    </a:cubicBezTo>
                    <a:cubicBezTo>
                      <a:pt x="142" y="13"/>
                      <a:pt x="141" y="12"/>
                      <a:pt x="139" y="9"/>
                    </a:cubicBezTo>
                    <a:cubicBezTo>
                      <a:pt x="136" y="4"/>
                      <a:pt x="134" y="1"/>
                      <a:pt x="128" y="2"/>
                    </a:cubicBezTo>
                    <a:cubicBezTo>
                      <a:pt x="124" y="2"/>
                      <a:pt x="122" y="6"/>
                      <a:pt x="118" y="6"/>
                    </a:cubicBezTo>
                    <a:cubicBezTo>
                      <a:pt x="114" y="6"/>
                      <a:pt x="115" y="3"/>
                      <a:pt x="110" y="0"/>
                    </a:cubicBezTo>
                    <a:cubicBezTo>
                      <a:pt x="106" y="0"/>
                      <a:pt x="101" y="0"/>
                      <a:pt x="98" y="2"/>
                    </a:cubicBezTo>
                    <a:cubicBezTo>
                      <a:pt x="94" y="5"/>
                      <a:pt x="94" y="7"/>
                      <a:pt x="89" y="5"/>
                    </a:cubicBezTo>
                    <a:cubicBezTo>
                      <a:pt x="85" y="4"/>
                      <a:pt x="82" y="2"/>
                      <a:pt x="78" y="3"/>
                    </a:cubicBezTo>
                    <a:cubicBezTo>
                      <a:pt x="74" y="3"/>
                      <a:pt x="71" y="4"/>
                      <a:pt x="69" y="8"/>
                    </a:cubicBezTo>
                    <a:cubicBezTo>
                      <a:pt x="67" y="11"/>
                      <a:pt x="67" y="13"/>
                      <a:pt x="63" y="13"/>
                    </a:cubicBezTo>
                    <a:cubicBezTo>
                      <a:pt x="60" y="12"/>
                      <a:pt x="58" y="11"/>
                      <a:pt x="55" y="12"/>
                    </a:cubicBezTo>
                    <a:cubicBezTo>
                      <a:pt x="49" y="15"/>
                      <a:pt x="48" y="17"/>
                      <a:pt x="48" y="23"/>
                    </a:cubicBezTo>
                    <a:cubicBezTo>
                      <a:pt x="48" y="32"/>
                      <a:pt x="40" y="28"/>
                      <a:pt x="35" y="30"/>
                    </a:cubicBezTo>
                    <a:cubicBezTo>
                      <a:pt x="26" y="35"/>
                      <a:pt x="35" y="44"/>
                      <a:pt x="33" y="50"/>
                    </a:cubicBezTo>
                    <a:cubicBezTo>
                      <a:pt x="31" y="55"/>
                      <a:pt x="23" y="52"/>
                      <a:pt x="20" y="57"/>
                    </a:cubicBezTo>
                    <a:cubicBezTo>
                      <a:pt x="19" y="59"/>
                      <a:pt x="19" y="63"/>
                      <a:pt x="20" y="66"/>
                    </a:cubicBezTo>
                    <a:cubicBezTo>
                      <a:pt x="21" y="69"/>
                      <a:pt x="24" y="71"/>
                      <a:pt x="25" y="73"/>
                    </a:cubicBezTo>
                    <a:cubicBezTo>
                      <a:pt x="25" y="76"/>
                      <a:pt x="23" y="78"/>
                      <a:pt x="21" y="79"/>
                    </a:cubicBezTo>
                    <a:cubicBezTo>
                      <a:pt x="18" y="81"/>
                      <a:pt x="16" y="82"/>
                      <a:pt x="15" y="86"/>
                    </a:cubicBezTo>
                    <a:cubicBezTo>
                      <a:pt x="15" y="89"/>
                      <a:pt x="15" y="92"/>
                      <a:pt x="17" y="95"/>
                    </a:cubicBezTo>
                    <a:cubicBezTo>
                      <a:pt x="17" y="96"/>
                      <a:pt x="21" y="98"/>
                      <a:pt x="21" y="99"/>
                    </a:cubicBezTo>
                    <a:cubicBezTo>
                      <a:pt x="21" y="101"/>
                      <a:pt x="19" y="101"/>
                      <a:pt x="18" y="103"/>
                    </a:cubicBezTo>
                    <a:cubicBezTo>
                      <a:pt x="16" y="104"/>
                      <a:pt x="15" y="106"/>
                      <a:pt x="15" y="108"/>
                    </a:cubicBezTo>
                    <a:cubicBezTo>
                      <a:pt x="13" y="114"/>
                      <a:pt x="15" y="116"/>
                      <a:pt x="19" y="119"/>
                    </a:cubicBezTo>
                    <a:cubicBezTo>
                      <a:pt x="21" y="120"/>
                      <a:pt x="24" y="122"/>
                      <a:pt x="25" y="123"/>
                    </a:cubicBezTo>
                    <a:cubicBezTo>
                      <a:pt x="26" y="125"/>
                      <a:pt x="25" y="125"/>
                      <a:pt x="24" y="128"/>
                    </a:cubicBezTo>
                    <a:cubicBezTo>
                      <a:pt x="23" y="131"/>
                      <a:pt x="22" y="135"/>
                      <a:pt x="22" y="138"/>
                    </a:cubicBezTo>
                    <a:cubicBezTo>
                      <a:pt x="23" y="143"/>
                      <a:pt x="27" y="144"/>
                      <a:pt x="31" y="146"/>
                    </a:cubicBezTo>
                    <a:cubicBezTo>
                      <a:pt x="33" y="147"/>
                      <a:pt x="38" y="146"/>
                      <a:pt x="40" y="148"/>
                    </a:cubicBezTo>
                    <a:cubicBezTo>
                      <a:pt x="41" y="151"/>
                      <a:pt x="39" y="155"/>
                      <a:pt x="40" y="157"/>
                    </a:cubicBezTo>
                    <a:cubicBezTo>
                      <a:pt x="42" y="160"/>
                      <a:pt x="45" y="162"/>
                      <a:pt x="47" y="162"/>
                    </a:cubicBezTo>
                    <a:cubicBezTo>
                      <a:pt x="50" y="163"/>
                      <a:pt x="53" y="162"/>
                      <a:pt x="56" y="163"/>
                    </a:cubicBezTo>
                    <a:cubicBezTo>
                      <a:pt x="58" y="164"/>
                      <a:pt x="59" y="167"/>
                      <a:pt x="62" y="167"/>
                    </a:cubicBezTo>
                    <a:cubicBezTo>
                      <a:pt x="65" y="168"/>
                      <a:pt x="67" y="167"/>
                      <a:pt x="69" y="166"/>
                    </a:cubicBezTo>
                    <a:cubicBezTo>
                      <a:pt x="73" y="171"/>
                      <a:pt x="77" y="176"/>
                      <a:pt x="81" y="179"/>
                    </a:cubicBezTo>
                    <a:cubicBezTo>
                      <a:pt x="82" y="182"/>
                      <a:pt x="83" y="193"/>
                      <a:pt x="79" y="199"/>
                    </a:cubicBezTo>
                    <a:cubicBezTo>
                      <a:pt x="75" y="207"/>
                      <a:pt x="54" y="211"/>
                      <a:pt x="39" y="213"/>
                    </a:cubicBezTo>
                    <a:cubicBezTo>
                      <a:pt x="38" y="214"/>
                      <a:pt x="38" y="214"/>
                      <a:pt x="38" y="214"/>
                    </a:cubicBezTo>
                    <a:cubicBezTo>
                      <a:pt x="20" y="217"/>
                      <a:pt x="12" y="219"/>
                      <a:pt x="6" y="230"/>
                    </a:cubicBezTo>
                    <a:cubicBezTo>
                      <a:pt x="1" y="241"/>
                      <a:pt x="0" y="253"/>
                      <a:pt x="0" y="253"/>
                    </a:cubicBezTo>
                    <a:cubicBezTo>
                      <a:pt x="0" y="255"/>
                      <a:pt x="1" y="256"/>
                      <a:pt x="2" y="256"/>
                    </a:cubicBezTo>
                    <a:cubicBezTo>
                      <a:pt x="3" y="256"/>
                      <a:pt x="4" y="255"/>
                      <a:pt x="5" y="254"/>
                    </a:cubicBezTo>
                    <a:cubicBezTo>
                      <a:pt x="5" y="253"/>
                      <a:pt x="5" y="242"/>
                      <a:pt x="10" y="232"/>
                    </a:cubicBezTo>
                    <a:cubicBezTo>
                      <a:pt x="15" y="223"/>
                      <a:pt x="22" y="221"/>
                      <a:pt x="39" y="218"/>
                    </a:cubicBezTo>
                    <a:cubicBezTo>
                      <a:pt x="40" y="218"/>
                      <a:pt x="40" y="218"/>
                      <a:pt x="40" y="218"/>
                    </a:cubicBezTo>
                    <a:cubicBezTo>
                      <a:pt x="41" y="218"/>
                      <a:pt x="42" y="218"/>
                      <a:pt x="43" y="217"/>
                    </a:cubicBezTo>
                    <a:cubicBezTo>
                      <a:pt x="103" y="252"/>
                      <a:pt x="103" y="252"/>
                      <a:pt x="103" y="252"/>
                    </a:cubicBezTo>
                    <a:cubicBezTo>
                      <a:pt x="103" y="252"/>
                      <a:pt x="104" y="252"/>
                      <a:pt x="104" y="252"/>
                    </a:cubicBezTo>
                    <a:cubicBezTo>
                      <a:pt x="104" y="252"/>
                      <a:pt x="105" y="252"/>
                      <a:pt x="105" y="252"/>
                    </a:cubicBezTo>
                    <a:cubicBezTo>
                      <a:pt x="168" y="218"/>
                      <a:pt x="168" y="218"/>
                      <a:pt x="168" y="218"/>
                    </a:cubicBezTo>
                    <a:cubicBezTo>
                      <a:pt x="168" y="218"/>
                      <a:pt x="169" y="218"/>
                      <a:pt x="169" y="219"/>
                    </a:cubicBezTo>
                    <a:cubicBezTo>
                      <a:pt x="170" y="219"/>
                      <a:pt x="170" y="219"/>
                      <a:pt x="170" y="219"/>
                    </a:cubicBezTo>
                    <a:cubicBezTo>
                      <a:pt x="187" y="222"/>
                      <a:pt x="194" y="224"/>
                      <a:pt x="199" y="233"/>
                    </a:cubicBezTo>
                    <a:cubicBezTo>
                      <a:pt x="204" y="243"/>
                      <a:pt x="204" y="254"/>
                      <a:pt x="204" y="254"/>
                    </a:cubicBezTo>
                    <a:cubicBezTo>
                      <a:pt x="204" y="255"/>
                      <a:pt x="205" y="256"/>
                      <a:pt x="207" y="256"/>
                    </a:cubicBezTo>
                    <a:cubicBezTo>
                      <a:pt x="207" y="256"/>
                      <a:pt x="207" y="256"/>
                      <a:pt x="207" y="256"/>
                    </a:cubicBezTo>
                    <a:cubicBezTo>
                      <a:pt x="208" y="256"/>
                      <a:pt x="209" y="255"/>
                      <a:pt x="209" y="254"/>
                    </a:cubicBezTo>
                    <a:cubicBezTo>
                      <a:pt x="209" y="253"/>
                      <a:pt x="208" y="242"/>
                      <a:pt x="203" y="231"/>
                    </a:cubicBezTo>
                    <a:cubicBezTo>
                      <a:pt x="197" y="220"/>
                      <a:pt x="189" y="218"/>
                      <a:pt x="171" y="214"/>
                    </a:cubicBezTo>
                    <a:close/>
                    <a:moveTo>
                      <a:pt x="61" y="88"/>
                    </a:moveTo>
                    <a:cubicBezTo>
                      <a:pt x="60" y="69"/>
                      <a:pt x="60" y="69"/>
                      <a:pt x="60" y="69"/>
                    </a:cubicBezTo>
                    <a:cubicBezTo>
                      <a:pt x="65" y="68"/>
                      <a:pt x="82" y="64"/>
                      <a:pt x="102" y="64"/>
                    </a:cubicBezTo>
                    <a:cubicBezTo>
                      <a:pt x="123" y="64"/>
                      <a:pt x="143" y="69"/>
                      <a:pt x="148" y="71"/>
                    </a:cubicBezTo>
                    <a:cubicBezTo>
                      <a:pt x="148" y="88"/>
                      <a:pt x="148" y="88"/>
                      <a:pt x="148" y="88"/>
                    </a:cubicBezTo>
                    <a:cubicBezTo>
                      <a:pt x="141" y="87"/>
                      <a:pt x="123" y="84"/>
                      <a:pt x="101" y="85"/>
                    </a:cubicBezTo>
                    <a:cubicBezTo>
                      <a:pt x="81" y="85"/>
                      <a:pt x="66" y="87"/>
                      <a:pt x="61" y="88"/>
                    </a:cubicBezTo>
                    <a:close/>
                    <a:moveTo>
                      <a:pt x="63" y="146"/>
                    </a:moveTo>
                    <a:cubicBezTo>
                      <a:pt x="61" y="136"/>
                      <a:pt x="61" y="101"/>
                      <a:pt x="61" y="92"/>
                    </a:cubicBezTo>
                    <a:cubicBezTo>
                      <a:pt x="66" y="92"/>
                      <a:pt x="80" y="90"/>
                      <a:pt x="102" y="89"/>
                    </a:cubicBezTo>
                    <a:cubicBezTo>
                      <a:pt x="124" y="88"/>
                      <a:pt x="142" y="91"/>
                      <a:pt x="148" y="92"/>
                    </a:cubicBezTo>
                    <a:cubicBezTo>
                      <a:pt x="148" y="101"/>
                      <a:pt x="148" y="136"/>
                      <a:pt x="146" y="146"/>
                    </a:cubicBezTo>
                    <a:cubicBezTo>
                      <a:pt x="143" y="158"/>
                      <a:pt x="130" y="171"/>
                      <a:pt x="122" y="178"/>
                    </a:cubicBezTo>
                    <a:cubicBezTo>
                      <a:pt x="113" y="184"/>
                      <a:pt x="111" y="186"/>
                      <a:pt x="104" y="186"/>
                    </a:cubicBezTo>
                    <a:cubicBezTo>
                      <a:pt x="98" y="186"/>
                      <a:pt x="95" y="184"/>
                      <a:pt x="87" y="178"/>
                    </a:cubicBezTo>
                    <a:cubicBezTo>
                      <a:pt x="79" y="171"/>
                      <a:pt x="66" y="158"/>
                      <a:pt x="63" y="146"/>
                    </a:cubicBezTo>
                    <a:close/>
                    <a:moveTo>
                      <a:pt x="104" y="247"/>
                    </a:moveTo>
                    <a:cubicBezTo>
                      <a:pt x="50" y="216"/>
                      <a:pt x="50" y="216"/>
                      <a:pt x="50" y="216"/>
                    </a:cubicBezTo>
                    <a:cubicBezTo>
                      <a:pt x="65" y="213"/>
                      <a:pt x="79" y="209"/>
                      <a:pt x="83" y="202"/>
                    </a:cubicBezTo>
                    <a:cubicBezTo>
                      <a:pt x="86" y="196"/>
                      <a:pt x="86" y="188"/>
                      <a:pt x="86" y="183"/>
                    </a:cubicBezTo>
                    <a:cubicBezTo>
                      <a:pt x="93" y="188"/>
                      <a:pt x="97" y="190"/>
                      <a:pt x="104" y="190"/>
                    </a:cubicBezTo>
                    <a:cubicBezTo>
                      <a:pt x="112" y="190"/>
                      <a:pt x="115" y="188"/>
                      <a:pt x="123" y="183"/>
                    </a:cubicBezTo>
                    <a:cubicBezTo>
                      <a:pt x="122" y="188"/>
                      <a:pt x="123" y="196"/>
                      <a:pt x="126" y="202"/>
                    </a:cubicBezTo>
                    <a:cubicBezTo>
                      <a:pt x="130" y="210"/>
                      <a:pt x="146" y="214"/>
                      <a:pt x="161" y="217"/>
                    </a:cubicBezTo>
                    <a:lnTo>
                      <a:pt x="104" y="247"/>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defRPr/>
                </a:pPr>
                <a:endParaRPr lang="en-NZ" sz="1800" kern="0" dirty="0">
                  <a:solidFill>
                    <a:prstClr val="black"/>
                  </a:solidFill>
                  <a:latin typeface="Calibri" panose="020F0502020204030204" pitchFamily="34" charset="0"/>
                  <a:cs typeface="Calibri" panose="020F0502020204030204" pitchFamily="34" charset="0"/>
                </a:endParaRPr>
              </a:p>
            </p:txBody>
          </p:sp>
        </p:grpSp>
        <p:sp>
          <p:nvSpPr>
            <p:cNvPr id="20" name="Rectangle 19">
              <a:extLst>
                <a:ext uri="{FF2B5EF4-FFF2-40B4-BE49-F238E27FC236}">
                  <a16:creationId xmlns:a16="http://schemas.microsoft.com/office/drawing/2014/main" id="{B5FBD4D3-A912-472A-B11B-DD76F21A12B4}"/>
                </a:ext>
              </a:extLst>
            </p:cNvPr>
            <p:cNvSpPr/>
            <p:nvPr/>
          </p:nvSpPr>
          <p:spPr bwMode="gray">
            <a:xfrm>
              <a:off x="3828088" y="5223505"/>
              <a:ext cx="2838869" cy="556623"/>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defRPr/>
              </a:pPr>
              <a:r>
                <a:rPr lang="en-NZ" sz="1000" b="1" kern="0" dirty="0">
                  <a:solidFill>
                    <a:prstClr val="white"/>
                  </a:solidFill>
                  <a:latin typeface="Calibri" panose="020F0502020204030204" pitchFamily="34" charset="0"/>
                  <a:cs typeface="Calibri" panose="020F0502020204030204" pitchFamily="34" charset="0"/>
                </a:rPr>
                <a:t>Average increase in FTEs, including an ~80% increase in the size of the water delivery workforce over 30 years </a:t>
              </a:r>
            </a:p>
          </p:txBody>
        </p:sp>
        <p:sp>
          <p:nvSpPr>
            <p:cNvPr id="21" name="TextBox 20">
              <a:extLst>
                <a:ext uri="{FF2B5EF4-FFF2-40B4-BE49-F238E27FC236}">
                  <a16:creationId xmlns:a16="http://schemas.microsoft.com/office/drawing/2014/main" id="{23888A92-9864-4F26-A961-B03F076A134B}"/>
                </a:ext>
              </a:extLst>
            </p:cNvPr>
            <p:cNvSpPr txBox="1">
              <a:spLocks noChangeAspect="1"/>
            </p:cNvSpPr>
            <p:nvPr/>
          </p:nvSpPr>
          <p:spPr bwMode="gray">
            <a:xfrm>
              <a:off x="3797774" y="4953093"/>
              <a:ext cx="2818656" cy="311742"/>
            </a:xfrm>
            <a:prstGeom prst="rect">
              <a:avLst/>
            </a:prstGeom>
            <a:noFill/>
          </p:spPr>
          <p:txBody>
            <a:bodyPr wrap="square" lIns="0" tIns="0" rIns="0" bIns="0" rtlCol="0" anchor="ctr">
              <a:spAutoFit/>
            </a:bodyPr>
            <a:lstStyle/>
            <a:p>
              <a:pPr algn="ctr" defTabSz="914400">
                <a:defRPr/>
              </a:pPr>
              <a:r>
                <a:rPr lang="en-NZ" sz="2400" b="1" kern="0" dirty="0">
                  <a:solidFill>
                    <a:srgbClr val="62B5E5"/>
                  </a:solidFill>
                  <a:latin typeface="Calibri" panose="020F0502020204030204" pitchFamily="34" charset="0"/>
                  <a:ea typeface="Segoe UI Symbol" panose="020B0502040204020203" pitchFamily="34" charset="0"/>
                  <a:cs typeface="Calibri" panose="020F0502020204030204" pitchFamily="34" charset="0"/>
                </a:rPr>
                <a:t>+</a:t>
              </a:r>
              <a:r>
                <a:rPr lang="en-NZ" sz="2400" b="1" kern="0" dirty="0">
                  <a:solidFill>
                    <a:prstClr val="white"/>
                  </a:solidFill>
                  <a:latin typeface="Calibri" panose="020F0502020204030204" pitchFamily="34" charset="0"/>
                  <a:cs typeface="Calibri" panose="020F0502020204030204" pitchFamily="34" charset="0"/>
                </a:rPr>
                <a:t> 5,849 to 9,260</a:t>
              </a:r>
            </a:p>
          </p:txBody>
        </p:sp>
        <p:sp>
          <p:nvSpPr>
            <p:cNvPr id="22" name="Rectangle 21">
              <a:extLst>
                <a:ext uri="{FF2B5EF4-FFF2-40B4-BE49-F238E27FC236}">
                  <a16:creationId xmlns:a16="http://schemas.microsoft.com/office/drawing/2014/main" id="{7AAEE95C-13B6-43B3-A74F-8DF3E6E0AE81}"/>
                </a:ext>
              </a:extLst>
            </p:cNvPr>
            <p:cNvSpPr/>
            <p:nvPr/>
          </p:nvSpPr>
          <p:spPr bwMode="gray">
            <a:xfrm>
              <a:off x="4039443" y="6858555"/>
              <a:ext cx="2416156" cy="704665"/>
            </a:xfrm>
            <a:prstGeom prst="rect">
              <a:avLst/>
            </a:prstGeom>
            <a:noFill/>
            <a:ln w="19050" algn="ctr">
              <a:noFill/>
              <a:miter lim="800000"/>
              <a:headEnd/>
              <a:tailEnd/>
            </a:ln>
          </p:spPr>
          <p:txBody>
            <a:bodyPr wrap="square" lIns="88900" tIns="88900" rIns="88900" bIns="88900" rtlCol="0" anchor="ctr"/>
            <a:lstStyle/>
            <a:p>
              <a:pPr algn="ctr" defTabSz="914400">
                <a:lnSpc>
                  <a:spcPct val="106000"/>
                </a:lnSpc>
                <a:buFont typeface="Wingdings 2" pitchFamily="18" charset="2"/>
                <a:buNone/>
                <a:defRPr/>
              </a:pPr>
              <a:r>
                <a:rPr lang="en-NZ" sz="1000" b="1" kern="0" dirty="0">
                  <a:solidFill>
                    <a:prstClr val="white"/>
                  </a:solidFill>
                  <a:latin typeface="Calibri" panose="020F0502020204030204" pitchFamily="34" charset="0"/>
                  <a:cs typeface="Calibri" panose="020F0502020204030204" pitchFamily="34" charset="0"/>
                </a:rPr>
                <a:t>Present value increase in taxes</a:t>
              </a:r>
            </a:p>
          </p:txBody>
        </p:sp>
      </p:grpSp>
      <p:sp>
        <p:nvSpPr>
          <p:cNvPr id="31" name="Text Placeholder 12">
            <a:extLst>
              <a:ext uri="{FF2B5EF4-FFF2-40B4-BE49-F238E27FC236}">
                <a16:creationId xmlns:a16="http://schemas.microsoft.com/office/drawing/2014/main" id="{20EE53A3-DA33-4C0B-BC50-96BFBC0A2932}"/>
              </a:ext>
            </a:extLst>
          </p:cNvPr>
          <p:cNvSpPr txBox="1">
            <a:spLocks/>
          </p:cNvSpPr>
          <p:nvPr/>
        </p:nvSpPr>
        <p:spPr>
          <a:xfrm>
            <a:off x="501650" y="651600"/>
            <a:ext cx="11188700"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spc="-30" dirty="0">
                <a:solidFill>
                  <a:srgbClr val="575757"/>
                </a:solidFill>
                <a:latin typeface="Calibri Light" panose="020F0302020204030204" pitchFamily="34" charset="0"/>
              </a:rPr>
              <a:t>The significant increase in investment assumed to be facilitated by Reform results in a substantial increase in GDP, employment, wages and tax revenue, delivering benefits across all corners of the economy. </a:t>
            </a:r>
          </a:p>
        </p:txBody>
      </p:sp>
    </p:spTree>
    <p:extLst>
      <p:ext uri="{BB962C8B-B14F-4D97-AF65-F5344CB8AC3E}">
        <p14:creationId xmlns:p14="http://schemas.microsoft.com/office/powerpoint/2010/main" val="721360170"/>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0076A8"/>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90C5DFC-556E-419D-B26B-1C525718E1DD}"/>
              </a:ext>
            </a:extLst>
          </p:cNvPr>
          <p:cNvSpPr>
            <a:spLocks noGrp="1"/>
          </p:cNvSpPr>
          <p:nvPr>
            <p:ph type="title"/>
          </p:nvPr>
        </p:nvSpPr>
        <p:spPr/>
        <p:txBody>
          <a:bodyPr/>
          <a:lstStyle/>
          <a:p>
            <a:r>
              <a:rPr lang="en-GB"/>
              <a:t>Deloitte Water Workforce Study</a:t>
            </a:r>
            <a:endParaRPr lang="en-GB" dirty="0"/>
          </a:p>
        </p:txBody>
      </p:sp>
      <p:sp>
        <p:nvSpPr>
          <p:cNvPr id="5" name="Text Placeholder 4">
            <a:extLst>
              <a:ext uri="{FF2B5EF4-FFF2-40B4-BE49-F238E27FC236}">
                <a16:creationId xmlns:a16="http://schemas.microsoft.com/office/drawing/2014/main" id="{25A8EF93-AE2E-4784-96F9-C085F6F43D86}"/>
              </a:ext>
            </a:extLst>
          </p:cNvPr>
          <p:cNvSpPr>
            <a:spLocks noGrp="1"/>
          </p:cNvSpPr>
          <p:nvPr>
            <p:ph type="body" idx="1"/>
          </p:nvPr>
        </p:nvSpPr>
        <p:spPr/>
        <p:txBody>
          <a:bodyPr/>
          <a:lstStyle/>
          <a:p>
            <a:r>
              <a:rPr lang="en-GB"/>
              <a:t>Commissioned by DIA &amp; Waihanga Aro Rau to inform planning for the future water workforce</a:t>
            </a:r>
            <a:endParaRPr lang="en-GB" dirty="0"/>
          </a:p>
        </p:txBody>
      </p:sp>
    </p:spTree>
    <p:extLst>
      <p:ext uri="{BB962C8B-B14F-4D97-AF65-F5344CB8AC3E}">
        <p14:creationId xmlns:p14="http://schemas.microsoft.com/office/powerpoint/2010/main" val="2192401498"/>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8CD1DAE-569F-465B-8411-27B9EC3E43D7}"/>
              </a:ext>
            </a:extLst>
          </p:cNvPr>
          <p:cNvSpPr>
            <a:spLocks noGrp="1"/>
          </p:cNvSpPr>
          <p:nvPr>
            <p:ph type="title"/>
          </p:nvPr>
        </p:nvSpPr>
        <p:spPr/>
        <p:txBody>
          <a:bodyPr/>
          <a:lstStyle/>
          <a:p>
            <a:r>
              <a:rPr lang="en-GB"/>
              <a:t>Water Workforce Analysis by Council profile</a:t>
            </a:r>
            <a:endParaRPr lang="en-GB" dirty="0"/>
          </a:p>
        </p:txBody>
      </p:sp>
      <p:sp>
        <p:nvSpPr>
          <p:cNvPr id="31" name="Text Placeholder 12">
            <a:extLst>
              <a:ext uri="{FF2B5EF4-FFF2-40B4-BE49-F238E27FC236}">
                <a16:creationId xmlns:a16="http://schemas.microsoft.com/office/drawing/2014/main" id="{20EE53A3-DA33-4C0B-BC50-96BFBC0A2932}"/>
              </a:ext>
            </a:extLst>
          </p:cNvPr>
          <p:cNvSpPr txBox="1">
            <a:spLocks/>
          </p:cNvSpPr>
          <p:nvPr/>
        </p:nvSpPr>
        <p:spPr>
          <a:xfrm>
            <a:off x="501650" y="651600"/>
            <a:ext cx="10644405" cy="75725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en-GB" sz="1800" spc="-30" dirty="0">
                <a:solidFill>
                  <a:srgbClr val="575757"/>
                </a:solidFill>
                <a:latin typeface="Calibri Light" panose="020F0302020204030204" pitchFamily="34" charset="0"/>
              </a:rPr>
              <a:t>Our modelling indicates that the national water workforce may need to grow by ~11,500 FTEs over 10 years, from ~15,400 FTEs in 2021 to ~26,900 in 2031. This is based on capex and </a:t>
            </a:r>
            <a:r>
              <a:rPr lang="en-GB" sz="1800" spc="-30" dirty="0" err="1">
                <a:solidFill>
                  <a:srgbClr val="575757"/>
                </a:solidFill>
                <a:latin typeface="Calibri Light" panose="020F0302020204030204" pitchFamily="34" charset="0"/>
              </a:rPr>
              <a:t>opex</a:t>
            </a:r>
            <a:r>
              <a:rPr lang="en-GB" sz="1800" spc="-30" dirty="0">
                <a:solidFill>
                  <a:srgbClr val="575757"/>
                </a:solidFill>
                <a:latin typeface="Calibri Light" panose="020F0302020204030204" pitchFamily="34" charset="0"/>
              </a:rPr>
              <a:t> in Council’s published LTPs, reduced by 14% (which reflects historic underspend on previous LTPs). The modelling does not capture any specific impact associated with increased investment facilitated by water reform.</a:t>
            </a:r>
          </a:p>
        </p:txBody>
      </p:sp>
      <p:graphicFrame>
        <p:nvGraphicFramePr>
          <p:cNvPr id="28" name="Chart 27">
            <a:extLst>
              <a:ext uri="{FF2B5EF4-FFF2-40B4-BE49-F238E27FC236}">
                <a16:creationId xmlns:a16="http://schemas.microsoft.com/office/drawing/2014/main" id="{EA14ABA2-11E6-43BB-89DA-E92747A70FD0}"/>
              </a:ext>
            </a:extLst>
          </p:cNvPr>
          <p:cNvGraphicFramePr>
            <a:graphicFrameLocks/>
          </p:cNvGraphicFramePr>
          <p:nvPr>
            <p:extLst>
              <p:ext uri="{D42A27DB-BD31-4B8C-83A1-F6EECF244321}">
                <p14:modId xmlns:p14="http://schemas.microsoft.com/office/powerpoint/2010/main" val="3284879576"/>
              </p:ext>
            </p:extLst>
          </p:nvPr>
        </p:nvGraphicFramePr>
        <p:xfrm>
          <a:off x="923975" y="1886400"/>
          <a:ext cx="4320000" cy="4320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9" name="Chart 28">
            <a:extLst>
              <a:ext uri="{FF2B5EF4-FFF2-40B4-BE49-F238E27FC236}">
                <a16:creationId xmlns:a16="http://schemas.microsoft.com/office/drawing/2014/main" id="{B7BCABCA-45D0-4209-8498-EE684ADC51A4}"/>
              </a:ext>
            </a:extLst>
          </p:cNvPr>
          <p:cNvGraphicFramePr>
            <a:graphicFrameLocks/>
          </p:cNvGraphicFramePr>
          <p:nvPr>
            <p:extLst>
              <p:ext uri="{D42A27DB-BD31-4B8C-83A1-F6EECF244321}">
                <p14:modId xmlns:p14="http://schemas.microsoft.com/office/powerpoint/2010/main" val="3094878409"/>
              </p:ext>
            </p:extLst>
          </p:nvPr>
        </p:nvGraphicFramePr>
        <p:xfrm>
          <a:off x="6607763" y="1896025"/>
          <a:ext cx="4320000" cy="4320000"/>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a:extLst>
              <a:ext uri="{FF2B5EF4-FFF2-40B4-BE49-F238E27FC236}">
                <a16:creationId xmlns:a16="http://schemas.microsoft.com/office/drawing/2014/main" id="{A121C214-FDEC-4B84-A94D-7FD147982374}"/>
              </a:ext>
            </a:extLst>
          </p:cNvPr>
          <p:cNvSpPr txBox="1"/>
          <p:nvPr/>
        </p:nvSpPr>
        <p:spPr>
          <a:xfrm>
            <a:off x="3704208" y="4924433"/>
            <a:ext cx="1539767" cy="369332"/>
          </a:xfrm>
          <a:prstGeom prst="rect">
            <a:avLst/>
          </a:prstGeom>
          <a:noFill/>
        </p:spPr>
        <p:txBody>
          <a:bodyPr wrap="square">
            <a:spAutoFit/>
          </a:bodyPr>
          <a:lstStyle/>
          <a:p>
            <a:r>
              <a:rPr lang="en-GB" sz="1800" b="1">
                <a:latin typeface="+mj-lt"/>
              </a:rPr>
              <a:t>15,400 FTEs</a:t>
            </a:r>
            <a:endParaRPr lang="en-GB" b="1" dirty="0"/>
          </a:p>
        </p:txBody>
      </p:sp>
      <p:sp>
        <p:nvSpPr>
          <p:cNvPr id="57" name="TextBox 56">
            <a:extLst>
              <a:ext uri="{FF2B5EF4-FFF2-40B4-BE49-F238E27FC236}">
                <a16:creationId xmlns:a16="http://schemas.microsoft.com/office/drawing/2014/main" id="{55E32F6B-F6B0-466A-890B-B7B2D6130E74}"/>
              </a:ext>
            </a:extLst>
          </p:cNvPr>
          <p:cNvSpPr txBox="1"/>
          <p:nvPr/>
        </p:nvSpPr>
        <p:spPr>
          <a:xfrm>
            <a:off x="9982201" y="4924433"/>
            <a:ext cx="1539767" cy="369332"/>
          </a:xfrm>
          <a:prstGeom prst="rect">
            <a:avLst/>
          </a:prstGeom>
          <a:noFill/>
        </p:spPr>
        <p:txBody>
          <a:bodyPr wrap="square">
            <a:spAutoFit/>
          </a:bodyPr>
          <a:lstStyle/>
          <a:p>
            <a:r>
              <a:rPr lang="en-GB" sz="1800" b="1">
                <a:latin typeface="+mj-lt"/>
              </a:rPr>
              <a:t>26,900 FTEs</a:t>
            </a:r>
            <a:endParaRPr lang="en-GB" b="1" dirty="0"/>
          </a:p>
        </p:txBody>
      </p:sp>
    </p:spTree>
    <p:extLst>
      <p:ext uri="{BB962C8B-B14F-4D97-AF65-F5344CB8AC3E}">
        <p14:creationId xmlns:p14="http://schemas.microsoft.com/office/powerpoint/2010/main" val="342796248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9E9FCB7-B3EE-4876-B4D9-896D077CAB28}"/>
              </a:ext>
            </a:extLst>
          </p:cNvPr>
          <p:cNvSpPr>
            <a:spLocks noGrp="1"/>
          </p:cNvSpPr>
          <p:nvPr>
            <p:ph type="title"/>
          </p:nvPr>
        </p:nvSpPr>
        <p:spPr/>
        <p:txBody>
          <a:bodyPr/>
          <a:lstStyle/>
          <a:p>
            <a:r>
              <a:rPr lang="en-GB" dirty="0"/>
              <a:t>Water Workforce Analysis by expenditure type</a:t>
            </a:r>
            <a:endParaRPr lang="en-GB" b="1" dirty="0">
              <a:latin typeface="Calibri Light" panose="020F0302020204030204" pitchFamily="34" charset="0"/>
            </a:endParaRPr>
          </a:p>
        </p:txBody>
      </p:sp>
      <p:sp>
        <p:nvSpPr>
          <p:cNvPr id="585" name="Text Placeholder 24">
            <a:extLst>
              <a:ext uri="{FF2B5EF4-FFF2-40B4-BE49-F238E27FC236}">
                <a16:creationId xmlns:a16="http://schemas.microsoft.com/office/drawing/2014/main" id="{673D5908-689B-429B-9417-5E5AACD95DCD}"/>
              </a:ext>
            </a:extLst>
          </p:cNvPr>
          <p:cNvSpPr>
            <a:spLocks noGrp="1"/>
          </p:cNvSpPr>
          <p:nvPr>
            <p:ph type="body" sz="quarter" idx="13"/>
          </p:nvPr>
        </p:nvSpPr>
        <p:spPr>
          <a:xfrm>
            <a:off x="501650" y="668783"/>
            <a:ext cx="9624127" cy="757255"/>
          </a:xfrm>
        </p:spPr>
        <p:txBody>
          <a:bodyPr/>
          <a:lstStyle/>
          <a:p>
            <a:pPr marL="16267" marR="6509">
              <a:lnSpc>
                <a:spcPct val="107100"/>
              </a:lnSpc>
              <a:spcBef>
                <a:spcPts val="128"/>
              </a:spcBef>
            </a:pPr>
            <a:r>
              <a:rPr lang="en-GB" spc="-30" dirty="0">
                <a:latin typeface="Calibri Light" panose="020F0302020204030204" pitchFamily="34" charset="0"/>
              </a:rPr>
              <a:t>The modelling results can also be presented based on forecast expenditure types. LTP data suggests that </a:t>
            </a:r>
            <a:r>
              <a:rPr lang="en-GB" spc="-30" dirty="0" err="1">
                <a:latin typeface="Calibri Light" panose="020F0302020204030204" pitchFamily="34" charset="0"/>
              </a:rPr>
              <a:t>opex</a:t>
            </a:r>
            <a:r>
              <a:rPr lang="en-GB" spc="-30" dirty="0">
                <a:latin typeface="Calibri Light" panose="020F0302020204030204" pitchFamily="34" charset="0"/>
              </a:rPr>
              <a:t> will increase by 85% and capex by 30% over the 10 year plan period.  </a:t>
            </a:r>
          </a:p>
        </p:txBody>
      </p:sp>
      <p:sp>
        <p:nvSpPr>
          <p:cNvPr id="3" name="Rectangle 2">
            <a:extLst>
              <a:ext uri="{FF2B5EF4-FFF2-40B4-BE49-F238E27FC236}">
                <a16:creationId xmlns:a16="http://schemas.microsoft.com/office/drawing/2014/main" id="{1941EB07-9B41-4ECD-A81D-4439CA920624}"/>
              </a:ext>
            </a:extLst>
          </p:cNvPr>
          <p:cNvSpPr/>
          <p:nvPr/>
        </p:nvSpPr>
        <p:spPr bwMode="gray">
          <a:xfrm rot="10800000">
            <a:off x="5950035" y="1243013"/>
            <a:ext cx="225329" cy="499938"/>
          </a:xfrm>
          <a:prstGeom prst="rect">
            <a:avLst/>
          </a:prstGeom>
          <a:solidFill>
            <a:schemeClr val="bg1"/>
          </a:solidFill>
          <a:ln w="19050" algn="ctr">
            <a:noFill/>
            <a:miter lim="800000"/>
            <a:headEnd/>
            <a:tailEnd/>
          </a:ln>
          <a:effectLst>
            <a:softEdge rad="63500"/>
          </a:effectLst>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graphicFrame>
        <p:nvGraphicFramePr>
          <p:cNvPr id="69" name="Chart 68">
            <a:extLst>
              <a:ext uri="{FF2B5EF4-FFF2-40B4-BE49-F238E27FC236}">
                <a16:creationId xmlns:a16="http://schemas.microsoft.com/office/drawing/2014/main" id="{10925425-3B28-49AF-9A4D-3D7C1E0A73BE}"/>
              </a:ext>
            </a:extLst>
          </p:cNvPr>
          <p:cNvGraphicFramePr>
            <a:graphicFrameLocks/>
          </p:cNvGraphicFramePr>
          <p:nvPr>
            <p:extLst>
              <p:ext uri="{D42A27DB-BD31-4B8C-83A1-F6EECF244321}">
                <p14:modId xmlns:p14="http://schemas.microsoft.com/office/powerpoint/2010/main" val="3322036326"/>
              </p:ext>
            </p:extLst>
          </p:nvPr>
        </p:nvGraphicFramePr>
        <p:xfrm>
          <a:off x="888000" y="1735902"/>
          <a:ext cx="4320000" cy="432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0" name="Chart 69">
            <a:extLst>
              <a:ext uri="{FF2B5EF4-FFF2-40B4-BE49-F238E27FC236}">
                <a16:creationId xmlns:a16="http://schemas.microsoft.com/office/drawing/2014/main" id="{9B1F0EBD-2D23-4F18-A2F2-D267900CB099}"/>
              </a:ext>
            </a:extLst>
          </p:cNvPr>
          <p:cNvGraphicFramePr>
            <a:graphicFrameLocks/>
          </p:cNvGraphicFramePr>
          <p:nvPr>
            <p:extLst>
              <p:ext uri="{D42A27DB-BD31-4B8C-83A1-F6EECF244321}">
                <p14:modId xmlns:p14="http://schemas.microsoft.com/office/powerpoint/2010/main" val="341761501"/>
              </p:ext>
            </p:extLst>
          </p:nvPr>
        </p:nvGraphicFramePr>
        <p:xfrm>
          <a:off x="6607763" y="1770969"/>
          <a:ext cx="4320000" cy="4320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1EB53654-986A-481D-A1AD-5D428176AA9F}"/>
              </a:ext>
            </a:extLst>
          </p:cNvPr>
          <p:cNvSpPr txBox="1"/>
          <p:nvPr/>
        </p:nvSpPr>
        <p:spPr>
          <a:xfrm>
            <a:off x="3704208" y="4914808"/>
            <a:ext cx="1539767" cy="369332"/>
          </a:xfrm>
          <a:prstGeom prst="rect">
            <a:avLst/>
          </a:prstGeom>
          <a:noFill/>
        </p:spPr>
        <p:txBody>
          <a:bodyPr wrap="square">
            <a:spAutoFit/>
          </a:bodyPr>
          <a:lstStyle/>
          <a:p>
            <a:r>
              <a:rPr lang="en-GB" sz="1800" b="1">
                <a:latin typeface="+mj-lt"/>
              </a:rPr>
              <a:t>15,400 FTEs</a:t>
            </a:r>
            <a:endParaRPr lang="en-GB" b="1" dirty="0"/>
          </a:p>
        </p:txBody>
      </p:sp>
      <p:sp>
        <p:nvSpPr>
          <p:cNvPr id="8" name="TextBox 7">
            <a:extLst>
              <a:ext uri="{FF2B5EF4-FFF2-40B4-BE49-F238E27FC236}">
                <a16:creationId xmlns:a16="http://schemas.microsoft.com/office/drawing/2014/main" id="{E8D233FF-A354-4EDA-B815-A943EEC3ED14}"/>
              </a:ext>
            </a:extLst>
          </p:cNvPr>
          <p:cNvSpPr txBox="1"/>
          <p:nvPr/>
        </p:nvSpPr>
        <p:spPr>
          <a:xfrm>
            <a:off x="9999663" y="4914808"/>
            <a:ext cx="1539767" cy="369332"/>
          </a:xfrm>
          <a:prstGeom prst="rect">
            <a:avLst/>
          </a:prstGeom>
          <a:noFill/>
        </p:spPr>
        <p:txBody>
          <a:bodyPr wrap="square">
            <a:spAutoFit/>
          </a:bodyPr>
          <a:lstStyle/>
          <a:p>
            <a:r>
              <a:rPr lang="en-GB" sz="1800" b="1">
                <a:latin typeface="+mj-lt"/>
              </a:rPr>
              <a:t>26,900 FTEs</a:t>
            </a:r>
            <a:endParaRPr lang="en-GB" b="1" dirty="0"/>
          </a:p>
        </p:txBody>
      </p:sp>
    </p:spTree>
    <p:extLst>
      <p:ext uri="{BB962C8B-B14F-4D97-AF65-F5344CB8AC3E}">
        <p14:creationId xmlns:p14="http://schemas.microsoft.com/office/powerpoint/2010/main" val="328214748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CONTAINEDIMAGEPATH" val="C:\Users\cphai\AppData\Local\Temp\Templafy\PowerPointVsto\Assets\Environmental_final_lo.p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UsXaJ2ecwKLedrinCkdg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UsXaJ2ecwKLedrinCkdgg"/>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1_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Custom 2">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Deloitte">
    <a:dk1>
      <a:srgbClr val="000000"/>
    </a:dk1>
    <a:lt1>
      <a:srgbClr val="FFFFFF"/>
    </a:lt1>
    <a:dk2>
      <a:srgbClr val="44546A"/>
    </a:dk2>
    <a:lt2>
      <a:srgbClr val="E7E6E6"/>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TemplafySlideFormConfiguration><![CDATA[{"formFields":[],"formDataEntries":[]}]]></TemplafySlideFormConfiguration>
</file>

<file path=customXml/item11.xml><?xml version="1.0" encoding="utf-8"?>
<TemplafySlideTemplateConfiguration><![CDATA[{"documentContentValidatorConfiguration":{"enableDocumentContentValidator":false,"documentContentValidatorVersion":0},"elementsMetadata":[],"slideId":"637265039702178426","enableDocumentContentUpdater":true,"version":"1.1"}]]></TemplafySlideTemplateConfiguration>
</file>

<file path=customXml/item12.xml><?xml version="1.0" encoding="utf-8"?>
<TemplafySlideTemplateConfiguration><![CDATA[{"documentContentValidatorConfiguration":{"enableDocumentContentValidator":false,"documentContentValidatorVersion":0},"elementsMetadata":[],"slideId":"637279731878117927","enableDocumentContentUpdater":true,"version":"1.1"}]]></TemplafySlideTemplateConfiguration>
</file>

<file path=customXml/item13.xml><?xml version="1.0" encoding="utf-8"?>
<ct:contentTypeSchema xmlns:ct="http://schemas.microsoft.com/office/2006/metadata/contentType" xmlns:ma="http://schemas.microsoft.com/office/2006/metadata/properties/metaAttributes" ct:_="" ma:_="" ma:contentTypeName="Document" ma:contentTypeID="0x010100CF6045D9BB852E4FB44EF85EF908714F" ma:contentTypeVersion="16" ma:contentTypeDescription="Create a new document." ma:contentTypeScope="" ma:versionID="593a758876d26cb05fbb8d5b965be5b0">
  <xsd:schema xmlns:xsd="http://www.w3.org/2001/XMLSchema" xmlns:xs="http://www.w3.org/2001/XMLSchema" xmlns:p="http://schemas.microsoft.com/office/2006/metadata/properties" xmlns:ns2="586f4b4d-9420-43cb-bd4f-fbc2dedf54ec" xmlns:ns3="ccf273dd-b7ee-47ec-a20e-f68b736c456d" targetNamespace="http://schemas.microsoft.com/office/2006/metadata/properties" ma:root="true" ma:fieldsID="7d42ca26a730bcdc232ceb590c763837" ns2:_="" ns3:_="">
    <xsd:import namespace="586f4b4d-9420-43cb-bd4f-fbc2dedf54ec"/>
    <xsd:import namespace="ccf273dd-b7ee-47ec-a20e-f68b736c456d"/>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Location" minOccurs="0"/>
                <xsd:element ref="ns2:MediaServiceOCR" minOccurs="0"/>
                <xsd:element ref="ns2:MediaServiceAutoKeyPoints" minOccurs="0"/>
                <xsd:element ref="ns2:MediaServiceKeyPoints" minOccurs="0"/>
                <xsd:element ref="ns2:MediaLengthInSeconds" minOccurs="0"/>
                <xsd:element ref="ns2:lcf76f155ced4ddcb4097134ff3c332f" minOccurs="0"/>
                <xsd:element ref="ns3:TaxCatchAll"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86f4b4d-9420-43cb-bd4f-fbc2dedf54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798d900d-0589-4081-96eb-513de833a507"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ccf273dd-b7ee-47ec-a20e-f68b736c456d"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0caa6b60-1d1f-4f16-8e9c-8f13155848e8}" ma:internalName="TaxCatchAll" ma:showField="CatchAllData" ma:web="ccf273dd-b7ee-47ec-a20e-f68b736c456d">
      <xsd:complexType>
        <xsd:complexContent>
          <xsd:extension base="dms:MultiChoiceLookup">
            <xsd:sequence>
              <xsd:element name="Value" type="dms:Lookup" maxOccurs="unbounded" minOccurs="0" nillable="true"/>
            </xsd:sequence>
          </xsd:extension>
        </xsd:complexContent>
      </xsd:complexType>
    </xsd:element>
    <xsd:element name="SharedWithUsers" ma:index="2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4.xml><?xml version="1.0" encoding="utf-8"?>
<TemplafySlideFormConfiguration><![CDATA[{"formFields":[],"formDataEntries":[]}]]></TemplafySlideFormConfiguration>
</file>

<file path=customXml/item15.xml><?xml version="1.0" encoding="utf-8"?>
<TemplafySlideFormConfiguration><![CDATA[{"formFields":[],"formDataEntries":[]}]]></TemplafySlideFormConfiguration>
</file>

<file path=customXml/item16.xml><?xml version="1.0" encoding="utf-8"?>
<TemplafySlideTemplateConfiguration><![CDATA[{"documentContentValidatorConfiguration":{"enableDocumentContentValidator":false,"documentContentValidatorVersion":0},"elementsMetadata":[],"slideId":"637265039711554382","enableDocumentContentUpdater":true,"version":"1.1"}]]></TemplafySlideTemplateConfiguration>
</file>

<file path=customXml/item2.xml><?xml version="1.0" encoding="utf-8"?>
<p:properties xmlns:p="http://schemas.microsoft.com/office/2006/metadata/properties" xmlns:xsi="http://www.w3.org/2001/XMLSchema-instance" xmlns:pc="http://schemas.microsoft.com/office/infopath/2007/PartnerControls">
  <documentManagement>
    <SharedWithUsers xmlns="ccf273dd-b7ee-47ec-a20e-f68b736c456d">
      <UserInfo>
        <DisplayName>Dent, Alan</DisplayName>
        <AccountId>14</AccountId>
        <AccountType/>
      </UserInfo>
      <UserInfo>
        <DisplayName>Tan, John</DisplayName>
        <AccountId>18</AccountId>
        <AccountType/>
      </UserInfo>
      <UserInfo>
        <DisplayName>Kilkelly, Mary</DisplayName>
        <AccountId>13</AccountId>
        <AccountType/>
      </UserInfo>
      <UserInfo>
        <DisplayName>Cooper, Ben</DisplayName>
        <AccountId>12</AccountId>
        <AccountType/>
      </UserInfo>
    </SharedWithUsers>
    <TaxCatchAll xmlns="ccf273dd-b7ee-47ec-a20e-f68b736c456d" xsi:nil="true"/>
    <lcf76f155ced4ddcb4097134ff3c332f xmlns="586f4b4d-9420-43cb-bd4f-fbc2dedf54ec">
      <Terms xmlns="http://schemas.microsoft.com/office/infopath/2007/PartnerControls"/>
    </lcf76f155ced4ddcb4097134ff3c332f>
  </documentManagement>
</p:properties>
</file>

<file path=customXml/item3.xml><?xml version="1.0" encoding="utf-8"?>
<TemplafySlideFormConfiguration><![CDATA[{"formFields":[],"formDataEntries":[]}]]></TemplafySlideFormConfiguration>
</file>

<file path=customXml/item4.xml><?xml version="1.0" encoding="utf-8"?>
<TemplafyTemplateConfiguration><![CDATA[{"elementsMetadata":[{"type":"shape","id":"a6a12ee9-a687-4b19-9328-babbc9476447","elementConfiguration":{"binding":"UserProfile.LegalEntity.Copyright","disableUpdates":false,"type":"text"}},{"type":"shape","id":"209a0f7c-119b-47bc-b65b-7764a4f5ce73","elementConfiguration":{"binding":"Form.PresentationTitle","disableUpdates":false,"type":"text"}},{"type":"shape","id":"d15b711d-93c6-40ea-a5ab-75703a923bc1","elementConfiguration":{"binding":"Form.Confidential.ClassificationInsertText","disableUpdates":false,"type":"text"}},{"type":"shape","id":"9e09c52d-ed80-432d-9240-ca3665448720","elementConfiguration":{"binding":"Form.PresentationTitle","disableUpdates":false,"type":"text"}},{"type":"shape","id":"e6a8a41e-50d8-4de8-b7a8-aa66ee16276b","elementConfiguration":{"binding":"Form.Confidential.ClassificationInsertText","disableUpdates":false,"type":"text"}},{"type":"shape","id":"7c732aa6-90d8-4907-ae75-c0da279d3b1d","elementConfiguration":{"binding":"UserProfile.LegalEntity.Copyright","disableUpdates":false,"type":"text"}},{"type":"shape","id":"bf4c1548-6c91-4f13-a8a8-480e7458f52e","elementConfiguration":{"binding":"Form.PresentationTitle","disableUpdates":false,"type":"text"}},{"type":"shape","id":"382db564-26ea-4660-ad70-afeb6a1596bd","elementConfiguration":{"binding":"Form.Confidential.ClassificationInsertText","disableUpdates":false,"type":"text"}},{"type":"shape","id":"e2b36413-5a99-4885-8049-d17f7b041090","elementConfiguration":{"binding":"UserProfile.LegalEntity.Copyright","disableUpdates":false,"type":"text"}},{"type":"shape","id":"a8e1f4d2-c8f6-48ed-861d-896eee2b2e4d","elementConfiguration":{"binding":"Form.PresentationTitle","disableUpdates":false,"type":"text"}},{"type":"shape","id":"2f647d44-f693-4961-ac05-1fc55b661337","elementConfiguration":{"binding":"Form.Confidential.ClassificationInsertText","disableUpdates":false,"type":"text"}},{"type":"shape","id":"ae0b63ae-517b-46ab-b990-8932f3983d0a","elementConfiguration":{"binding":"UserProfile.LegalEntity.Copyright","disableUpdates":false,"type":"text"}},{"type":"shape","id":"005bb826-0c42-4d8e-beef-930f60088aa6","elementConfiguration":{"binding":"UserProfile.LegalEntity.Boilerplate_{{Form.InternalExternal.PptDynamicPrefix}}","disableUpdates":false,"type":"text"}},{"type":"shape","id":"978d1fa9-0638-4e7b-a7c1-34507f6455d7","elementConfiguration":{"binding":"Form.PresentationTitle","disableUpdates":false,"type":"text"}},{"type":"shape","id":"54ef3eaf-9996-4944-9b19-8c502ac2f1c4","elementConfiguration":{"binding":"Form.Confidential.ClassificationInsertText","disableUpdates":false,"type":"text"}},{"type":"shape","id":"ca3fe5b8-ccaa-4f86-8999-4940195ac054","elementConfiguration":{"binding":"UserProfile.LegalEntity.Copyright","disableUpdates":false,"type":"text"}},{"type":"shape","id":"bd377102-8ce7-4238-8eb8-5896db9d6063","elementConfiguration":{"binding":"Form.PresentationTitle","disableUpdates":false,"type":"text"}},{"type":"shape","id":"02b40268-bf27-4127-be58-9a12972f93a9","elementConfiguration":{"binding":"Form.Confidential.ClassificationInsertText","disableUpdates":false,"type":"text"}},{"type":"shape","id":"f5b52602-26c6-40fb-94b5-51ae10d646f8","elementConfiguration":{"binding":"UserProfile.LegalEntity.Copyright","disableUpdates":false,"type":"text"}},{"type":"shape","id":"64da053c-ec15-4594-81a8-5c3703862630","elementConfiguration":{"binding":"Form.PresentationTitle","disableUpdates":false,"type":"text"}},{"type":"shape","id":"2c60595d-40ed-418b-9a8a-c8cd4283814a","elementConfiguration":{"binding":"Form.Confidential.ClassificationInsertText","disableUpdates":false,"type":"text"}},{"type":"shape","id":"9f903639-0538-471e-b7dc-e8fb3dd195bd","elementConfiguration":{"binding":"UserProfile.LegalEntity.Copyright","disableUpdates":false,"type":"text"}},{"type":"shape","id":"a9fe2dd9-e45b-40d2-8c85-f6de198bac04","elementConfiguration":{"binding":"Form.PresentationTitle","disableUpdates":false,"type":"text"}},{"type":"shape","id":"3f293734-ec16-4fc4-855a-9d1ae4122ad9","elementConfiguration":{"binding":"Form.Confidential.ClassificationInsertText","disableUpdates":false,"type":"text"}},{"type":"shape","id":"fc42806f-1d09-4daf-bbfb-fc004845eb75","elementConfiguration":{"binding":"UserProfile.LegalEntity.Copyright","disableUpdates":false,"type":"text"}},{"type":"shape","id":"3e7b1ef0-e012-4cd2-9956-598dc7056e8d","elementConfiguration":{"binding":"Form.PresentationTitle","disableUpdates":false,"type":"text"}},{"type":"shape","id":"fbd3e636-2d53-4fd6-937a-8a7b90635bf2","elementConfiguration":{"binding":"Form.Confidential.ClassificationInsertText","disableUpdates":false,"type":"text"}},{"type":"shape","id":"14359309-415e-45c9-9d0e-296806b7ce05","elementConfiguration":{"binding":"UserProfile.LegalEntity.Copyright","disableUpdates":false,"type":"text"}},{"type":"shape","id":"4ea4374c-650a-4561-a8f8-b8f65aa68506","elementConfiguration":{"binding":"Form.PresentationTitle","disableUpdates":false,"type":"text"}},{"type":"shape","id":"4196df5e-4367-41ef-a5ab-a5f40847b7b2","elementConfiguration":{"binding":"Form.Confidential.ClassificationInsertText","disableUpdates":false,"type":"text"}},{"type":"shape","id":"38eb9ebb-801f-4e2e-8770-96b5cc6ce101","elementConfiguration":{"binding":"UserProfile.LegalEntity.Copyright","disableUpdates":false,"type":"text"}},{"type":"shape","id":"7ca14fa0-af07-4c75-a8f7-eb7cffe7a617","elementConfiguration":{"binding":"Form.PresentationTitle","disableUpdates":false,"type":"text"}},{"type":"shape","id":"14a128be-108c-4e2b-b363-2ef129c0b635","elementConfiguration":{"binding":"Form.Confidential.ClassificationInsertText","disableUpdates":false,"type":"text"}},{"type":"shape","id":"d712eab2-86c5-4490-8297-2e563bd41df5","elementConfiguration":{"binding":"UserProfile.LegalEntity.Copyright","disableUpdates":false,"type":"text"}},{"type":"shape","id":"27b00a6d-cdc3-4ce6-8c5e-80b185ac284c","elementConfiguration":{"binding":"Form.PresentationTitle","disableUpdates":false,"type":"text"}},{"type":"shape","id":"a8abc2d1-3737-4545-9a5d-795ae2610370","elementConfiguration":{"binding":"Form.Confidential.ClassificationInsertText","disableUpdates":false,"type":"text"}},{"type":"shape","id":"faeff4e0-e8e8-4f5e-80a7-1cc3624db684","elementConfiguration":{"binding":"UserProfile.LegalEntity.Copyright","disableUpdates":false,"type":"text"}},{"type":"shape","id":"a258daec-32df-4362-bfc3-5dc005fdde7f","elementConfiguration":{"binding":"UserProfile.LegalEntity.Boilerplate_{{Form.InternalExternal.PptDynamicPrefix}}","disableUpdates":false,"type":"text"}},{"type":"shape","id":"118430bf-23b0-4ba7-9b96-5741f7ed8350","elementConfiguration":{"binding":"Form.PresentationTitle","disableUpdates":false,"type":"text"}},{"type":"shape","id":"090994c5-6a52-4e2d-9b3b-c7ed1d2a69c9","elementConfiguration":{"binding":"Form.Confidential.ClassificationInsertText","disableUpdates":false,"type":"text"}},{"type":"shape","id":"a1af9007-aa7d-4850-9326-38720c785f00","elementConfiguration":{"binding":"UserProfile.LegalEntity.Copyright","disableUpdates":false,"type":"text"}}],"transformationConfigurations":[{"language":"{{DocumentLanguage}}","disableUpdates":false,"type":"proofingLanguage"}],"templateName":"","templateDescription":"","enableDocumentContentUpdater":true,"version":"1.1"}]]></TemplafyTemplateConfiguration>
</file>

<file path=customXml/item5.xml><?xml version="1.0" encoding="utf-8"?>
<TemplafySlideTemplateConfiguration><![CDATA[{"documentContentValidatorConfiguration":{"enableDocumentContentValidator":false,"documentContentValidatorVersion":0},"elementsMetadata":[],"slideId":"637265039702178426","enableDocumentContentUpdater":true,"version":"1.1"}]]></TemplafySlideTemplateConfiguration>
</file>

<file path=customXml/item6.xml><?xml version="1.0" encoding="utf-8"?>
<?mso-contentType ?>
<FormTemplates xmlns="http://schemas.microsoft.com/sharepoint/v3/contenttype/forms">
  <Display>DocumentLibraryForm</Display>
  <Edit>DocumentLibraryForm</Edit>
  <New>DocumentLibraryForm</New>
</FormTemplates>
</file>

<file path=customXml/item7.xml><?xml version="1.0" encoding="utf-8"?>
<TemplafyFormConfiguration><![CDATA[{"formFields":[{"required":true,"placeholder":"","lines":0,"type":"textBox","name":"PresentationTitle","label":"Presentation Title","helpTexts":{"prefix":"","postfix":""},"spacing":{},"fullyQualifiedName":"PresentationTitle"},{"dataSource":"Classification","displayColumn":"classificationDisplayText","hideIfNoUserInteractionRequired":false,"distinct":true,"required":true,"autoSelectFirstOption":false,"type":"dropDown","name":"Confidential","label":"Classification","helpTexts":{"prefix":"","postfix":""},"spacing":{},"fullyQualifiedName":"Confidential"},{"dataSource":"InternalExternal","displayColumn":"internalExternal","hideIfNoUserInteractionRequired":false,"distinct":true,"required":true,"autoSelectFirstOption":false,"type":"dropDown","name":"InternalExternal","label":"Internal/External","helpTexts":{"prefix":"","postfix":""},"spacing":{},"fullyQualifiedName":"InternalExternal"}],"formDataEntries":[{"name":"PresentationTitle","value":"nojKhA7HYeryPmmCLuFd9VpoTwU4TKoeJBf96UzCOO0="},{"name":"Confidential","value":"HvgkuCUgJqHpzjjaO5ox9w=="},{"name":"InternalExternal","value":"HvgkuCUgJqHpzjjaO5ox9w=="}]}]]></TemplafyFormConfiguration>
</file>

<file path=customXml/item8.xml><?xml version="1.0" encoding="utf-8"?>
<TemplafySlideTemplateConfiguration><![CDATA[{"documentContentValidatorConfiguration":{"enableDocumentContentValidator":false,"documentContentValidatorVersion":0},"elementsMetadata":[],"slideId":"637265039700928286","enableDocumentContentUpdater":true,"version":"1.1"}]]></TemplafySlideTemplateConfiguration>
</file>

<file path=customXml/item9.xml><?xml version="1.0" encoding="utf-8"?>
<TemplafySlideFormConfiguration><![CDATA[{"formFields":[],"formDataEntries":[]}]]></TemplafySlideFormConfiguration>
</file>

<file path=customXml/itemProps1.xml><?xml version="1.0" encoding="utf-8"?>
<ds:datastoreItem xmlns:ds="http://schemas.openxmlformats.org/officeDocument/2006/customXml" ds:itemID="{0B9F3922-58E2-43F4-8BF4-0CA4AA0AD5BA}">
  <ds:schemaRefs/>
</ds:datastoreItem>
</file>

<file path=customXml/itemProps10.xml><?xml version="1.0" encoding="utf-8"?>
<ds:datastoreItem xmlns:ds="http://schemas.openxmlformats.org/officeDocument/2006/customXml" ds:itemID="{8CDACCC5-B377-47F4-854D-9685FDFC4D67}">
  <ds:schemaRefs/>
</ds:datastoreItem>
</file>

<file path=customXml/itemProps11.xml><?xml version="1.0" encoding="utf-8"?>
<ds:datastoreItem xmlns:ds="http://schemas.openxmlformats.org/officeDocument/2006/customXml" ds:itemID="{1DC881B6-F0A0-4EBC-877D-2F1AE33BE7C6}">
  <ds:schemaRefs/>
</ds:datastoreItem>
</file>

<file path=customXml/itemProps12.xml><?xml version="1.0" encoding="utf-8"?>
<ds:datastoreItem xmlns:ds="http://schemas.openxmlformats.org/officeDocument/2006/customXml" ds:itemID="{7C4FB9B6-6728-4EED-A331-BA0E5A54AC20}">
  <ds:schemaRefs/>
</ds:datastoreItem>
</file>

<file path=customXml/itemProps13.xml><?xml version="1.0" encoding="utf-8"?>
<ds:datastoreItem xmlns:ds="http://schemas.openxmlformats.org/officeDocument/2006/customXml" ds:itemID="{A145E926-5D05-44EB-A6E9-AF31CA4413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86f4b4d-9420-43cb-bd4f-fbc2dedf54ec"/>
    <ds:schemaRef ds:uri="ccf273dd-b7ee-47ec-a20e-f68b736c45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14.xml><?xml version="1.0" encoding="utf-8"?>
<ds:datastoreItem xmlns:ds="http://schemas.openxmlformats.org/officeDocument/2006/customXml" ds:itemID="{E6A733D8-E18F-43B9-B940-5A0883CA7107}">
  <ds:schemaRefs/>
</ds:datastoreItem>
</file>

<file path=customXml/itemProps15.xml><?xml version="1.0" encoding="utf-8"?>
<ds:datastoreItem xmlns:ds="http://schemas.openxmlformats.org/officeDocument/2006/customXml" ds:itemID="{CE00AB00-8761-431E-9EFD-D63392FCE2D3}">
  <ds:schemaRefs/>
</ds:datastoreItem>
</file>

<file path=customXml/itemProps16.xml><?xml version="1.0" encoding="utf-8"?>
<ds:datastoreItem xmlns:ds="http://schemas.openxmlformats.org/officeDocument/2006/customXml" ds:itemID="{042A33DC-E09A-4971-9D8A-6E61D5CFC761}">
  <ds:schemaRefs/>
</ds:datastoreItem>
</file>

<file path=customXml/itemProps2.xml><?xml version="1.0" encoding="utf-8"?>
<ds:datastoreItem xmlns:ds="http://schemas.openxmlformats.org/officeDocument/2006/customXml" ds:itemID="{BA05E49B-70B5-4FEC-89D5-F69F52BE5B81}">
  <ds:schemaRefs>
    <ds:schemaRef ds:uri="http://schemas.microsoft.com/office/2006/metadata/properties"/>
    <ds:schemaRef ds:uri="ccf273dd-b7ee-47ec-a20e-f68b736c456d"/>
    <ds:schemaRef ds:uri="http://schemas.microsoft.com/office/2006/documentManagement/types"/>
    <ds:schemaRef ds:uri="586f4b4d-9420-43cb-bd4f-fbc2dedf54ec"/>
    <ds:schemaRef ds:uri="http://www.w3.org/XML/1998/namespace"/>
    <ds:schemaRef ds:uri="http://schemas.microsoft.com/office/infopath/2007/PartnerControls"/>
    <ds:schemaRef ds:uri="http://purl.org/dc/dcmitype/"/>
    <ds:schemaRef ds:uri="http://schemas.openxmlformats.org/package/2006/metadata/core-properties"/>
    <ds:schemaRef ds:uri="http://purl.org/dc/terms/"/>
    <ds:schemaRef ds:uri="http://purl.org/dc/elements/1.1/"/>
  </ds:schemaRefs>
</ds:datastoreItem>
</file>

<file path=customXml/itemProps3.xml><?xml version="1.0" encoding="utf-8"?>
<ds:datastoreItem xmlns:ds="http://schemas.openxmlformats.org/officeDocument/2006/customXml" ds:itemID="{B618035B-C48C-41E1-A945-15168EC1A159}">
  <ds:schemaRefs/>
</ds:datastoreItem>
</file>

<file path=customXml/itemProps4.xml><?xml version="1.0" encoding="utf-8"?>
<ds:datastoreItem xmlns:ds="http://schemas.openxmlformats.org/officeDocument/2006/customXml" ds:itemID="{6A424D5A-6D0F-4215-B188-3F0420B0A838}">
  <ds:schemaRefs/>
</ds:datastoreItem>
</file>

<file path=customXml/itemProps5.xml><?xml version="1.0" encoding="utf-8"?>
<ds:datastoreItem xmlns:ds="http://schemas.openxmlformats.org/officeDocument/2006/customXml" ds:itemID="{AF278C5C-2C11-4C57-91B1-D83F7BA2560E}">
  <ds:schemaRefs/>
</ds:datastoreItem>
</file>

<file path=customXml/itemProps6.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7.xml><?xml version="1.0" encoding="utf-8"?>
<ds:datastoreItem xmlns:ds="http://schemas.openxmlformats.org/officeDocument/2006/customXml" ds:itemID="{B3F970F2-F4EC-4AC2-A4B2-8F3AC39C6F43}">
  <ds:schemaRefs/>
</ds:datastoreItem>
</file>

<file path=customXml/itemProps8.xml><?xml version="1.0" encoding="utf-8"?>
<ds:datastoreItem xmlns:ds="http://schemas.openxmlformats.org/officeDocument/2006/customXml" ds:itemID="{B1AEE276-012A-46C3-99D9-F2120E931437}">
  <ds:schemaRefs/>
</ds:datastoreItem>
</file>

<file path=customXml/itemProps9.xml><?xml version="1.0" encoding="utf-8"?>
<ds:datastoreItem xmlns:ds="http://schemas.openxmlformats.org/officeDocument/2006/customXml" ds:itemID="{1C1036FF-3743-4EEC-BD86-55D154832E76}">
  <ds:schemaRefs/>
</ds:datastoreItem>
</file>

<file path=docProps/app.xml><?xml version="1.0" encoding="utf-8"?>
<Properties xmlns="http://schemas.openxmlformats.org/officeDocument/2006/extended-properties" xmlns:vt="http://schemas.openxmlformats.org/officeDocument/2006/docPropsVTypes">
  <Template>DIA Draft Workforce Model Phase 3 Report Outline 23.03 v0.5ADupdate</Template>
  <TotalTime>8376</TotalTime>
  <Words>1907</Words>
  <Application>Microsoft Office PowerPoint</Application>
  <PresentationFormat>Widescreen</PresentationFormat>
  <Paragraphs>286</Paragraphs>
  <Slides>17</Slides>
  <Notes>7</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7" baseType="lpstr">
      <vt:lpstr>Arial</vt:lpstr>
      <vt:lpstr>Calibri</vt:lpstr>
      <vt:lpstr>Calibri Light</vt:lpstr>
      <vt:lpstr>Courier New</vt:lpstr>
      <vt:lpstr>Segoe UI Light</vt:lpstr>
      <vt:lpstr>Verdana</vt:lpstr>
      <vt:lpstr>Wingdings 2</vt:lpstr>
      <vt:lpstr>Deloitte Brand Theme</vt:lpstr>
      <vt:lpstr>1_Deloitte Brand Theme</vt:lpstr>
      <vt:lpstr>think-cell Slide</vt:lpstr>
      <vt:lpstr>A clear perspective Water Workforce analysis presentation</vt:lpstr>
      <vt:lpstr>Modelling the Future Water Workforce The makeup and scale of the current and future “water workforce” is an area of significant interest to policy makers, sector and relevant professional bodies</vt:lpstr>
      <vt:lpstr>Overview  This presentation provides and overview of the sector engagement, analysis and modelling undertaken by Deloitte to provide an initial analysis of the current and prospective workforce</vt:lpstr>
      <vt:lpstr>Study Comparison</vt:lpstr>
      <vt:lpstr>Deloitte Economic Impact Study </vt:lpstr>
      <vt:lpstr>Economic Impact of Reform: Key Highlights</vt:lpstr>
      <vt:lpstr>Deloitte Water Workforce Study</vt:lpstr>
      <vt:lpstr>Water Workforce Analysis by Council profile</vt:lpstr>
      <vt:lpstr>Water Workforce Analysis by expenditure type</vt:lpstr>
      <vt:lpstr>Workforce estimate by major role types</vt:lpstr>
      <vt:lpstr>Overview of Water Services Chain – Capex and Opex</vt:lpstr>
      <vt:lpstr>Model design</vt:lpstr>
      <vt:lpstr>Water Workforce Analysis: The profile of the future workforce may change over time</vt:lpstr>
      <vt:lpstr>Potential Future Scenarios</vt:lpstr>
      <vt:lpstr>Interpretation and Caveats</vt:lpstr>
      <vt:lpstr>Questions?</vt:lpstr>
      <vt:lpstr>PowerPoint Presentatio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ter Workforce Analysis Phase 3 Results</dc:title>
  <dc:creator>Phai, Chantha</dc:creator>
  <cp:lastModifiedBy>Dent, Alan</cp:lastModifiedBy>
  <cp:revision>238</cp:revision>
  <cp:lastPrinted>2022-08-29T21:57:08Z</cp:lastPrinted>
  <dcterms:created xsi:type="dcterms:W3CDTF">2022-04-05T03:27:27Z</dcterms:created>
  <dcterms:modified xsi:type="dcterms:W3CDTF">2022-10-17T05:08: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78E8B287249E4E9782FDB0ABFCDFC3</vt:lpwstr>
  </property>
  <property fmtid="{D5CDD505-2E9C-101B-9397-08002B2CF9AE}" pid="3" name="TemplafyTimeStamp">
    <vt:lpwstr>2020-08-06T04:30:32.4875636Z</vt:lpwstr>
  </property>
  <property fmtid="{D5CDD505-2E9C-101B-9397-08002B2CF9AE}" pid="4" name="TemplafyTenantId">
    <vt:lpwstr>deloittenz</vt:lpwstr>
  </property>
  <property fmtid="{D5CDD505-2E9C-101B-9397-08002B2CF9AE}" pid="5" name="TemplafyTemplateId">
    <vt:lpwstr>637265036717738133</vt:lpwstr>
  </property>
  <property fmtid="{D5CDD505-2E9C-101B-9397-08002B2CF9AE}" pid="6" name="TemplafyUserProfileId">
    <vt:lpwstr>636833561556932520</vt:lpwstr>
  </property>
  <property fmtid="{D5CDD505-2E9C-101B-9397-08002B2CF9AE}" pid="7" name="TemplafyLanguageCode">
    <vt:lpwstr>en-GB</vt:lpwstr>
  </property>
  <property fmtid="{D5CDD505-2E9C-101B-9397-08002B2CF9AE}" pid="8" name="MSIP_Label_ea60d57e-af5b-4752-ac57-3e4f28ca11dc_Enabled">
    <vt:lpwstr>true</vt:lpwstr>
  </property>
  <property fmtid="{D5CDD505-2E9C-101B-9397-08002B2CF9AE}" pid="9" name="MSIP_Label_ea60d57e-af5b-4752-ac57-3e4f28ca11dc_SetDate">
    <vt:lpwstr>2021-07-15T21:07:01Z</vt:lpwstr>
  </property>
  <property fmtid="{D5CDD505-2E9C-101B-9397-08002B2CF9AE}" pid="10" name="MSIP_Label_ea60d57e-af5b-4752-ac57-3e4f28ca11dc_Method">
    <vt:lpwstr>Standard</vt:lpwstr>
  </property>
  <property fmtid="{D5CDD505-2E9C-101B-9397-08002B2CF9AE}" pid="11" name="MSIP_Label_ea60d57e-af5b-4752-ac57-3e4f28ca11dc_Name">
    <vt:lpwstr>ea60d57e-af5b-4752-ac57-3e4f28ca11dc</vt:lpwstr>
  </property>
  <property fmtid="{D5CDD505-2E9C-101B-9397-08002B2CF9AE}" pid="12" name="MSIP_Label_ea60d57e-af5b-4752-ac57-3e4f28ca11dc_SiteId">
    <vt:lpwstr>36da45f1-dd2c-4d1f-af13-5abe46b99921</vt:lpwstr>
  </property>
  <property fmtid="{D5CDD505-2E9C-101B-9397-08002B2CF9AE}" pid="13" name="MSIP_Label_ea60d57e-af5b-4752-ac57-3e4f28ca11dc_ActionId">
    <vt:lpwstr>1216c434-6065-4669-a4d4-96642001fc9e</vt:lpwstr>
  </property>
  <property fmtid="{D5CDD505-2E9C-101B-9397-08002B2CF9AE}" pid="14" name="MSIP_Label_ea60d57e-af5b-4752-ac57-3e4f28ca11dc_ContentBits">
    <vt:lpwstr>0</vt:lpwstr>
  </property>
  <property fmtid="{D5CDD505-2E9C-101B-9397-08002B2CF9AE}" pid="15" name="MediaServiceImageTags">
    <vt:lpwstr/>
  </property>
</Properties>
</file>